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22" r:id="rId1"/>
  </p:sldMasterIdLst>
  <p:notesMasterIdLst>
    <p:notesMasterId r:id="rId13"/>
  </p:notesMasterIdLst>
  <p:sldIdLst>
    <p:sldId id="264" r:id="rId2"/>
    <p:sldId id="257" r:id="rId3"/>
    <p:sldId id="258" r:id="rId4"/>
    <p:sldId id="259" r:id="rId5"/>
    <p:sldId id="260" r:id="rId6"/>
    <p:sldId id="261" r:id="rId7"/>
    <p:sldId id="267" r:id="rId8"/>
    <p:sldId id="262" r:id="rId9"/>
    <p:sldId id="263" r:id="rId10"/>
    <p:sldId id="266" r:id="rId11"/>
    <p:sldId id="265" r:id="rId12"/>
  </p:sldIdLst>
  <p:sldSz cx="9144000" cy="6858000" type="screen4x3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napToObjects="1">
      <p:cViewPr varScale="1">
        <p:scale>
          <a:sx n="113" d="100"/>
          <a:sy n="113" d="100"/>
        </p:scale>
        <p:origin x="1554" y="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iagrams/_rels/data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svg"/><Relationship Id="rId1" Type="http://schemas.openxmlformats.org/officeDocument/2006/relationships/image" Target="../media/image7.png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0.svg"/></Relationships>
</file>

<file path=ppt/diagrams/_rels/data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image" Target="../media/image14.svg"/><Relationship Id="rId1" Type="http://schemas.openxmlformats.org/officeDocument/2006/relationships/image" Target="../media/image13.png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4" Type="http://schemas.openxmlformats.org/officeDocument/2006/relationships/image" Target="../media/image16.svg"/></Relationships>
</file>

<file path=ppt/diagrams/_rels/data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svg"/><Relationship Id="rId1" Type="http://schemas.openxmlformats.org/officeDocument/2006/relationships/image" Target="../media/image21.png"/><Relationship Id="rId6" Type="http://schemas.openxmlformats.org/officeDocument/2006/relationships/image" Target="../media/image26.svg"/><Relationship Id="rId5" Type="http://schemas.openxmlformats.org/officeDocument/2006/relationships/image" Target="../media/image25.png"/><Relationship Id="rId4" Type="http://schemas.openxmlformats.org/officeDocument/2006/relationships/image" Target="../media/image24.svg"/></Relationships>
</file>

<file path=ppt/diagrams/_rels/data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sv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image" Target="../media/image29.svg"/><Relationship Id="rId1" Type="http://schemas.openxmlformats.org/officeDocument/2006/relationships/image" Target="../media/image28.png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10" Type="http://schemas.openxmlformats.org/officeDocument/2006/relationships/image" Target="../media/image37.svg"/><Relationship Id="rId4" Type="http://schemas.openxmlformats.org/officeDocument/2006/relationships/image" Target="../media/image31.svg"/><Relationship Id="rId9" Type="http://schemas.openxmlformats.org/officeDocument/2006/relationships/image" Target="../media/image36.png"/></Relationships>
</file>

<file path=ppt/diagrams/_rels/drawing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svg"/><Relationship Id="rId1" Type="http://schemas.openxmlformats.org/officeDocument/2006/relationships/image" Target="../media/image7.png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0.svg"/></Relationships>
</file>

<file path=ppt/diagrams/_rels/drawing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image" Target="../media/image14.svg"/><Relationship Id="rId1" Type="http://schemas.openxmlformats.org/officeDocument/2006/relationships/image" Target="../media/image13.png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4" Type="http://schemas.openxmlformats.org/officeDocument/2006/relationships/image" Target="../media/image16.svg"/></Relationships>
</file>

<file path=ppt/diagrams/_rels/drawing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svg"/><Relationship Id="rId1" Type="http://schemas.openxmlformats.org/officeDocument/2006/relationships/image" Target="../media/image21.png"/><Relationship Id="rId6" Type="http://schemas.openxmlformats.org/officeDocument/2006/relationships/image" Target="../media/image26.svg"/><Relationship Id="rId5" Type="http://schemas.openxmlformats.org/officeDocument/2006/relationships/image" Target="../media/image25.png"/><Relationship Id="rId4" Type="http://schemas.openxmlformats.org/officeDocument/2006/relationships/image" Target="../media/image24.svg"/></Relationships>
</file>

<file path=ppt/diagrams/_rels/drawing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sv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image" Target="../media/image29.svg"/><Relationship Id="rId1" Type="http://schemas.openxmlformats.org/officeDocument/2006/relationships/image" Target="../media/image28.png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10" Type="http://schemas.openxmlformats.org/officeDocument/2006/relationships/image" Target="../media/image37.svg"/><Relationship Id="rId4" Type="http://schemas.openxmlformats.org/officeDocument/2006/relationships/image" Target="../media/image31.svg"/><Relationship Id="rId9" Type="http://schemas.openxmlformats.org/officeDocument/2006/relationships/image" Target="../media/image36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FDDE66A-0A40-4E06-80DB-B6A19C23087F}" type="doc">
      <dgm:prSet loTypeId="urn:microsoft.com/office/officeart/2005/8/layout/process4" loCatId="process" qsTypeId="urn:microsoft.com/office/officeart/2005/8/quickstyle/simple2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B8188074-D473-4A40-9F95-37638FB8340A}">
      <dgm:prSet/>
      <dgm:spPr/>
      <dgm:t>
        <a:bodyPr/>
        <a:lstStyle/>
        <a:p>
          <a:r>
            <a:rPr lang="en-US"/>
            <a:t>Objective:</a:t>
          </a:r>
        </a:p>
      </dgm:t>
    </dgm:pt>
    <dgm:pt modelId="{5A1BAEEB-3076-44FB-9BD8-3471B1BB05C7}" type="parTrans" cxnId="{7A471B3C-320E-413B-9DBB-FB4BE980AA75}">
      <dgm:prSet/>
      <dgm:spPr/>
      <dgm:t>
        <a:bodyPr/>
        <a:lstStyle/>
        <a:p>
          <a:endParaRPr lang="en-US"/>
        </a:p>
      </dgm:t>
    </dgm:pt>
    <dgm:pt modelId="{95273665-BE03-429D-B8F3-F1186D74993D}" type="sibTrans" cxnId="{7A471B3C-320E-413B-9DBB-FB4BE980AA75}">
      <dgm:prSet/>
      <dgm:spPr/>
      <dgm:t>
        <a:bodyPr/>
        <a:lstStyle/>
        <a:p>
          <a:endParaRPr lang="en-US"/>
        </a:p>
      </dgm:t>
    </dgm:pt>
    <dgm:pt modelId="{13C7501A-87D5-4E57-A619-550A36FADDF0}">
      <dgm:prSet/>
      <dgm:spPr/>
      <dgm:t>
        <a:bodyPr/>
        <a:lstStyle/>
        <a:p>
          <a:r>
            <a:rPr lang="en-US"/>
            <a:t>Centralized platform for booking events and accessing sports activity details.</a:t>
          </a:r>
        </a:p>
      </dgm:t>
    </dgm:pt>
    <dgm:pt modelId="{4B32E2D9-8C15-442C-9C52-F0E930E2AB68}" type="parTrans" cxnId="{68CAC62D-9AA4-49B1-83F4-284CE00D1A51}">
      <dgm:prSet/>
      <dgm:spPr/>
      <dgm:t>
        <a:bodyPr/>
        <a:lstStyle/>
        <a:p>
          <a:endParaRPr lang="en-US"/>
        </a:p>
      </dgm:t>
    </dgm:pt>
    <dgm:pt modelId="{8127296F-DCE5-4E3E-B011-81732C7D8A71}" type="sibTrans" cxnId="{68CAC62D-9AA4-49B1-83F4-284CE00D1A51}">
      <dgm:prSet/>
      <dgm:spPr/>
      <dgm:t>
        <a:bodyPr/>
        <a:lstStyle/>
        <a:p>
          <a:endParaRPr lang="en-US"/>
        </a:p>
      </dgm:t>
    </dgm:pt>
    <dgm:pt modelId="{FFB1CC41-463E-42E2-BF59-1850087156E8}">
      <dgm:prSet/>
      <dgm:spPr/>
      <dgm:t>
        <a:bodyPr/>
        <a:lstStyle/>
        <a:p>
          <a:r>
            <a:rPr lang="en-US"/>
            <a:t>Challenges Addressed:</a:t>
          </a:r>
        </a:p>
      </dgm:t>
    </dgm:pt>
    <dgm:pt modelId="{659EC819-6AB4-4FBC-A00C-A5369A1CAD80}" type="parTrans" cxnId="{76826732-F95C-40C9-B5B7-7EBC628E6BF2}">
      <dgm:prSet/>
      <dgm:spPr/>
      <dgm:t>
        <a:bodyPr/>
        <a:lstStyle/>
        <a:p>
          <a:endParaRPr lang="en-US"/>
        </a:p>
      </dgm:t>
    </dgm:pt>
    <dgm:pt modelId="{8A87CEE8-18A7-4037-98FD-0BEB1F6F0927}" type="sibTrans" cxnId="{76826732-F95C-40C9-B5B7-7EBC628E6BF2}">
      <dgm:prSet/>
      <dgm:spPr/>
      <dgm:t>
        <a:bodyPr/>
        <a:lstStyle/>
        <a:p>
          <a:endParaRPr lang="en-US"/>
        </a:p>
      </dgm:t>
    </dgm:pt>
    <dgm:pt modelId="{E67D44CD-19DF-4F84-B469-53A81B7DB4EF}">
      <dgm:prSet/>
      <dgm:spPr/>
      <dgm:t>
        <a:bodyPr/>
        <a:lstStyle/>
        <a:p>
          <a:r>
            <a:rPr lang="en-US"/>
            <a:t>- Lack of streamlined communication among players and organizers.</a:t>
          </a:r>
        </a:p>
      </dgm:t>
    </dgm:pt>
    <dgm:pt modelId="{04E92ABF-2A96-44C6-9645-303E928CB0F0}" type="parTrans" cxnId="{825E6570-CDAA-41E4-AD63-655E24983DB4}">
      <dgm:prSet/>
      <dgm:spPr/>
      <dgm:t>
        <a:bodyPr/>
        <a:lstStyle/>
        <a:p>
          <a:endParaRPr lang="en-US"/>
        </a:p>
      </dgm:t>
    </dgm:pt>
    <dgm:pt modelId="{303DE1D2-40EE-410D-B628-9167A66EA39C}" type="sibTrans" cxnId="{825E6570-CDAA-41E4-AD63-655E24983DB4}">
      <dgm:prSet/>
      <dgm:spPr/>
      <dgm:t>
        <a:bodyPr/>
        <a:lstStyle/>
        <a:p>
          <a:endParaRPr lang="en-US"/>
        </a:p>
      </dgm:t>
    </dgm:pt>
    <dgm:pt modelId="{1E2E201A-E7DF-4343-88E5-365A975AB323}">
      <dgm:prSet/>
      <dgm:spPr/>
      <dgm:t>
        <a:bodyPr/>
        <a:lstStyle/>
        <a:p>
          <a:r>
            <a:rPr lang="en-US"/>
            <a:t>- Difficulty in tracking event statuses.</a:t>
          </a:r>
        </a:p>
      </dgm:t>
    </dgm:pt>
    <dgm:pt modelId="{B7DC28F5-5E66-48BA-BACE-3FD1D34C8C46}" type="parTrans" cxnId="{F9C6B521-4D7F-4B03-8CE7-2381246EAAC7}">
      <dgm:prSet/>
      <dgm:spPr/>
      <dgm:t>
        <a:bodyPr/>
        <a:lstStyle/>
        <a:p>
          <a:endParaRPr lang="en-US"/>
        </a:p>
      </dgm:t>
    </dgm:pt>
    <dgm:pt modelId="{0B0135F7-2697-4EF6-8012-80AFE52D02C1}" type="sibTrans" cxnId="{F9C6B521-4D7F-4B03-8CE7-2381246EAAC7}">
      <dgm:prSet/>
      <dgm:spPr/>
      <dgm:t>
        <a:bodyPr/>
        <a:lstStyle/>
        <a:p>
          <a:endParaRPr lang="en-US"/>
        </a:p>
      </dgm:t>
    </dgm:pt>
    <dgm:pt modelId="{3707D895-32C6-4E33-8BF2-6E909A36B24F}" type="pres">
      <dgm:prSet presAssocID="{0FDDE66A-0A40-4E06-80DB-B6A19C23087F}" presName="Name0" presStyleCnt="0">
        <dgm:presLayoutVars>
          <dgm:dir/>
          <dgm:animLvl val="lvl"/>
          <dgm:resizeHandles val="exact"/>
        </dgm:presLayoutVars>
      </dgm:prSet>
      <dgm:spPr/>
    </dgm:pt>
    <dgm:pt modelId="{6D4736A4-241B-4AE9-920A-2FF4FC79F816}" type="pres">
      <dgm:prSet presAssocID="{1E2E201A-E7DF-4343-88E5-365A975AB323}" presName="boxAndChildren" presStyleCnt="0"/>
      <dgm:spPr/>
    </dgm:pt>
    <dgm:pt modelId="{5BCCE496-C706-4F0D-B3CF-0C8D83A0495B}" type="pres">
      <dgm:prSet presAssocID="{1E2E201A-E7DF-4343-88E5-365A975AB323}" presName="parentTextBox" presStyleLbl="node1" presStyleIdx="0" presStyleCnt="5"/>
      <dgm:spPr/>
    </dgm:pt>
    <dgm:pt modelId="{349F9211-D4B0-4B26-93A5-8A6B3490A0AC}" type="pres">
      <dgm:prSet presAssocID="{303DE1D2-40EE-410D-B628-9167A66EA39C}" presName="sp" presStyleCnt="0"/>
      <dgm:spPr/>
    </dgm:pt>
    <dgm:pt modelId="{6E22EC70-C962-403D-9BBE-09DB1ADB96CC}" type="pres">
      <dgm:prSet presAssocID="{E67D44CD-19DF-4F84-B469-53A81B7DB4EF}" presName="arrowAndChildren" presStyleCnt="0"/>
      <dgm:spPr/>
    </dgm:pt>
    <dgm:pt modelId="{B3C9AEB1-6141-40C1-AA9B-0BE6F2696029}" type="pres">
      <dgm:prSet presAssocID="{E67D44CD-19DF-4F84-B469-53A81B7DB4EF}" presName="parentTextArrow" presStyleLbl="node1" presStyleIdx="1" presStyleCnt="5"/>
      <dgm:spPr/>
    </dgm:pt>
    <dgm:pt modelId="{DBD02B63-CDEE-47C3-8671-CF3583E02332}" type="pres">
      <dgm:prSet presAssocID="{8A87CEE8-18A7-4037-98FD-0BEB1F6F0927}" presName="sp" presStyleCnt="0"/>
      <dgm:spPr/>
    </dgm:pt>
    <dgm:pt modelId="{0D585403-E792-4F03-A2CB-846B8C0DB60F}" type="pres">
      <dgm:prSet presAssocID="{FFB1CC41-463E-42E2-BF59-1850087156E8}" presName="arrowAndChildren" presStyleCnt="0"/>
      <dgm:spPr/>
    </dgm:pt>
    <dgm:pt modelId="{AB96FD3B-AC46-4907-A35D-2651FF3390F7}" type="pres">
      <dgm:prSet presAssocID="{FFB1CC41-463E-42E2-BF59-1850087156E8}" presName="parentTextArrow" presStyleLbl="node1" presStyleIdx="2" presStyleCnt="5"/>
      <dgm:spPr/>
    </dgm:pt>
    <dgm:pt modelId="{1DFEFA28-B153-462C-A913-BB4BF9EA42BE}" type="pres">
      <dgm:prSet presAssocID="{8127296F-DCE5-4E3E-B011-81732C7D8A71}" presName="sp" presStyleCnt="0"/>
      <dgm:spPr/>
    </dgm:pt>
    <dgm:pt modelId="{455B9D0E-832A-4941-AC40-172DA457DC6B}" type="pres">
      <dgm:prSet presAssocID="{13C7501A-87D5-4E57-A619-550A36FADDF0}" presName="arrowAndChildren" presStyleCnt="0"/>
      <dgm:spPr/>
    </dgm:pt>
    <dgm:pt modelId="{3D6123B9-C2C0-4303-BB02-D46F3F8863B2}" type="pres">
      <dgm:prSet presAssocID="{13C7501A-87D5-4E57-A619-550A36FADDF0}" presName="parentTextArrow" presStyleLbl="node1" presStyleIdx="3" presStyleCnt="5"/>
      <dgm:spPr/>
    </dgm:pt>
    <dgm:pt modelId="{A3A68CB5-C414-4737-9430-E0AAFCEA7425}" type="pres">
      <dgm:prSet presAssocID="{95273665-BE03-429D-B8F3-F1186D74993D}" presName="sp" presStyleCnt="0"/>
      <dgm:spPr/>
    </dgm:pt>
    <dgm:pt modelId="{0143590A-15C4-40F5-B390-975FBCBCDF45}" type="pres">
      <dgm:prSet presAssocID="{B8188074-D473-4A40-9F95-37638FB8340A}" presName="arrowAndChildren" presStyleCnt="0"/>
      <dgm:spPr/>
    </dgm:pt>
    <dgm:pt modelId="{3AC1B645-B9ED-4585-A90F-10ADF0F7F4F5}" type="pres">
      <dgm:prSet presAssocID="{B8188074-D473-4A40-9F95-37638FB8340A}" presName="parentTextArrow" presStyleLbl="node1" presStyleIdx="4" presStyleCnt="5"/>
      <dgm:spPr/>
    </dgm:pt>
  </dgm:ptLst>
  <dgm:cxnLst>
    <dgm:cxn modelId="{ECC72205-2F33-47C4-8348-33CACE3219AF}" type="presOf" srcId="{B8188074-D473-4A40-9F95-37638FB8340A}" destId="{3AC1B645-B9ED-4585-A90F-10ADF0F7F4F5}" srcOrd="0" destOrd="0" presId="urn:microsoft.com/office/officeart/2005/8/layout/process4"/>
    <dgm:cxn modelId="{F9C6B521-4D7F-4B03-8CE7-2381246EAAC7}" srcId="{0FDDE66A-0A40-4E06-80DB-B6A19C23087F}" destId="{1E2E201A-E7DF-4343-88E5-365A975AB323}" srcOrd="4" destOrd="0" parTransId="{B7DC28F5-5E66-48BA-BACE-3FD1D34C8C46}" sibTransId="{0B0135F7-2697-4EF6-8012-80AFE52D02C1}"/>
    <dgm:cxn modelId="{68CAC62D-9AA4-49B1-83F4-284CE00D1A51}" srcId="{0FDDE66A-0A40-4E06-80DB-B6A19C23087F}" destId="{13C7501A-87D5-4E57-A619-550A36FADDF0}" srcOrd="1" destOrd="0" parTransId="{4B32E2D9-8C15-442C-9C52-F0E930E2AB68}" sibTransId="{8127296F-DCE5-4E3E-B011-81732C7D8A71}"/>
    <dgm:cxn modelId="{76826732-F95C-40C9-B5B7-7EBC628E6BF2}" srcId="{0FDDE66A-0A40-4E06-80DB-B6A19C23087F}" destId="{FFB1CC41-463E-42E2-BF59-1850087156E8}" srcOrd="2" destOrd="0" parTransId="{659EC819-6AB4-4FBC-A00C-A5369A1CAD80}" sibTransId="{8A87CEE8-18A7-4037-98FD-0BEB1F6F0927}"/>
    <dgm:cxn modelId="{7A471B3C-320E-413B-9DBB-FB4BE980AA75}" srcId="{0FDDE66A-0A40-4E06-80DB-B6A19C23087F}" destId="{B8188074-D473-4A40-9F95-37638FB8340A}" srcOrd="0" destOrd="0" parTransId="{5A1BAEEB-3076-44FB-9BD8-3471B1BB05C7}" sibTransId="{95273665-BE03-429D-B8F3-F1186D74993D}"/>
    <dgm:cxn modelId="{825E6570-CDAA-41E4-AD63-655E24983DB4}" srcId="{0FDDE66A-0A40-4E06-80DB-B6A19C23087F}" destId="{E67D44CD-19DF-4F84-B469-53A81B7DB4EF}" srcOrd="3" destOrd="0" parTransId="{04E92ABF-2A96-44C6-9645-303E928CB0F0}" sibTransId="{303DE1D2-40EE-410D-B628-9167A66EA39C}"/>
    <dgm:cxn modelId="{D0D5BA83-FEA3-4E69-9D27-11066A89EE0B}" type="presOf" srcId="{0FDDE66A-0A40-4E06-80DB-B6A19C23087F}" destId="{3707D895-32C6-4E33-8BF2-6E909A36B24F}" srcOrd="0" destOrd="0" presId="urn:microsoft.com/office/officeart/2005/8/layout/process4"/>
    <dgm:cxn modelId="{19E73F8C-31B5-4C74-AE45-8A84FC44E566}" type="presOf" srcId="{1E2E201A-E7DF-4343-88E5-365A975AB323}" destId="{5BCCE496-C706-4F0D-B3CF-0C8D83A0495B}" srcOrd="0" destOrd="0" presId="urn:microsoft.com/office/officeart/2005/8/layout/process4"/>
    <dgm:cxn modelId="{FC7A5596-756D-465C-A7C7-8A9A854F14E9}" type="presOf" srcId="{E67D44CD-19DF-4F84-B469-53A81B7DB4EF}" destId="{B3C9AEB1-6141-40C1-AA9B-0BE6F2696029}" srcOrd="0" destOrd="0" presId="urn:microsoft.com/office/officeart/2005/8/layout/process4"/>
    <dgm:cxn modelId="{81AE3DB2-AB1D-4E4C-ACA4-21459C4B1447}" type="presOf" srcId="{13C7501A-87D5-4E57-A619-550A36FADDF0}" destId="{3D6123B9-C2C0-4303-BB02-D46F3F8863B2}" srcOrd="0" destOrd="0" presId="urn:microsoft.com/office/officeart/2005/8/layout/process4"/>
    <dgm:cxn modelId="{3AFC02F7-71A2-4012-8FA3-EE0536B995EB}" type="presOf" srcId="{FFB1CC41-463E-42E2-BF59-1850087156E8}" destId="{AB96FD3B-AC46-4907-A35D-2651FF3390F7}" srcOrd="0" destOrd="0" presId="urn:microsoft.com/office/officeart/2005/8/layout/process4"/>
    <dgm:cxn modelId="{B1DDC48D-1EC9-4B15-8A40-0A35E74625D9}" type="presParOf" srcId="{3707D895-32C6-4E33-8BF2-6E909A36B24F}" destId="{6D4736A4-241B-4AE9-920A-2FF4FC79F816}" srcOrd="0" destOrd="0" presId="urn:microsoft.com/office/officeart/2005/8/layout/process4"/>
    <dgm:cxn modelId="{BA3E935B-84B4-440D-A64E-A7A0A69DCA16}" type="presParOf" srcId="{6D4736A4-241B-4AE9-920A-2FF4FC79F816}" destId="{5BCCE496-C706-4F0D-B3CF-0C8D83A0495B}" srcOrd="0" destOrd="0" presId="urn:microsoft.com/office/officeart/2005/8/layout/process4"/>
    <dgm:cxn modelId="{2546F9BD-6817-4219-96BB-5859ED62B3BA}" type="presParOf" srcId="{3707D895-32C6-4E33-8BF2-6E909A36B24F}" destId="{349F9211-D4B0-4B26-93A5-8A6B3490A0AC}" srcOrd="1" destOrd="0" presId="urn:microsoft.com/office/officeart/2005/8/layout/process4"/>
    <dgm:cxn modelId="{3B53682D-11C7-4A30-87CB-95805664E73B}" type="presParOf" srcId="{3707D895-32C6-4E33-8BF2-6E909A36B24F}" destId="{6E22EC70-C962-403D-9BBE-09DB1ADB96CC}" srcOrd="2" destOrd="0" presId="urn:microsoft.com/office/officeart/2005/8/layout/process4"/>
    <dgm:cxn modelId="{283B220D-064C-4D19-A888-41710D9253AC}" type="presParOf" srcId="{6E22EC70-C962-403D-9BBE-09DB1ADB96CC}" destId="{B3C9AEB1-6141-40C1-AA9B-0BE6F2696029}" srcOrd="0" destOrd="0" presId="urn:microsoft.com/office/officeart/2005/8/layout/process4"/>
    <dgm:cxn modelId="{65D4DD0C-30B0-4D30-9AEB-E332F685A4C1}" type="presParOf" srcId="{3707D895-32C6-4E33-8BF2-6E909A36B24F}" destId="{DBD02B63-CDEE-47C3-8671-CF3583E02332}" srcOrd="3" destOrd="0" presId="urn:microsoft.com/office/officeart/2005/8/layout/process4"/>
    <dgm:cxn modelId="{3FACE34D-3C79-4140-AD04-53B6944CFAE7}" type="presParOf" srcId="{3707D895-32C6-4E33-8BF2-6E909A36B24F}" destId="{0D585403-E792-4F03-A2CB-846B8C0DB60F}" srcOrd="4" destOrd="0" presId="urn:microsoft.com/office/officeart/2005/8/layout/process4"/>
    <dgm:cxn modelId="{07FFDD45-DA68-4797-814F-334567C65BDA}" type="presParOf" srcId="{0D585403-E792-4F03-A2CB-846B8C0DB60F}" destId="{AB96FD3B-AC46-4907-A35D-2651FF3390F7}" srcOrd="0" destOrd="0" presId="urn:microsoft.com/office/officeart/2005/8/layout/process4"/>
    <dgm:cxn modelId="{1244B808-3E04-4CCA-80FD-6BF4183832A8}" type="presParOf" srcId="{3707D895-32C6-4E33-8BF2-6E909A36B24F}" destId="{1DFEFA28-B153-462C-A913-BB4BF9EA42BE}" srcOrd="5" destOrd="0" presId="urn:microsoft.com/office/officeart/2005/8/layout/process4"/>
    <dgm:cxn modelId="{C60C5D2F-E669-4198-BF27-15ABE5526913}" type="presParOf" srcId="{3707D895-32C6-4E33-8BF2-6E909A36B24F}" destId="{455B9D0E-832A-4941-AC40-172DA457DC6B}" srcOrd="6" destOrd="0" presId="urn:microsoft.com/office/officeart/2005/8/layout/process4"/>
    <dgm:cxn modelId="{C45E7146-71C5-49F2-8ACD-FBD828714450}" type="presParOf" srcId="{455B9D0E-832A-4941-AC40-172DA457DC6B}" destId="{3D6123B9-C2C0-4303-BB02-D46F3F8863B2}" srcOrd="0" destOrd="0" presId="urn:microsoft.com/office/officeart/2005/8/layout/process4"/>
    <dgm:cxn modelId="{EFC5EDEA-9701-496D-99BF-F1830A918F54}" type="presParOf" srcId="{3707D895-32C6-4E33-8BF2-6E909A36B24F}" destId="{A3A68CB5-C414-4737-9430-E0AAFCEA7425}" srcOrd="7" destOrd="0" presId="urn:microsoft.com/office/officeart/2005/8/layout/process4"/>
    <dgm:cxn modelId="{F02DB77B-2E84-458B-AB0D-3B9D967E6B58}" type="presParOf" srcId="{3707D895-32C6-4E33-8BF2-6E909A36B24F}" destId="{0143590A-15C4-40F5-B390-975FBCBCDF45}" srcOrd="8" destOrd="0" presId="urn:microsoft.com/office/officeart/2005/8/layout/process4"/>
    <dgm:cxn modelId="{EC57D0CC-437F-4BB3-AE88-D5454AACCAEC}" type="presParOf" srcId="{0143590A-15C4-40F5-B390-975FBCBCDF45}" destId="{3AC1B645-B9ED-4585-A90F-10ADF0F7F4F5}" srcOrd="0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B3D3AF4-7012-4F72-8CFE-26C41EB29D3A}" type="doc">
      <dgm:prSet loTypeId="urn:microsoft.com/office/officeart/2005/8/layout/default" loCatId="list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427F374-E9A5-4651-8E2A-7118262BA4A3}">
      <dgm:prSet/>
      <dgm:spPr/>
      <dgm:t>
        <a:bodyPr/>
        <a:lstStyle/>
        <a:p>
          <a:r>
            <a:rPr lang="en-US" dirty="0"/>
            <a:t>Book Slots for all sports</a:t>
          </a:r>
        </a:p>
      </dgm:t>
    </dgm:pt>
    <dgm:pt modelId="{E260B8E6-DBE6-41FA-B104-83C43D576F7D}" type="parTrans" cxnId="{3CDE47C6-CB40-4C08-A357-7D0ACDFC78E5}">
      <dgm:prSet/>
      <dgm:spPr/>
      <dgm:t>
        <a:bodyPr/>
        <a:lstStyle/>
        <a:p>
          <a:endParaRPr lang="en-US"/>
        </a:p>
      </dgm:t>
    </dgm:pt>
    <dgm:pt modelId="{6E171A02-34F1-4E4F-B440-0F82F29B0B0E}" type="sibTrans" cxnId="{3CDE47C6-CB40-4C08-A357-7D0ACDFC78E5}">
      <dgm:prSet/>
      <dgm:spPr/>
      <dgm:t>
        <a:bodyPr/>
        <a:lstStyle/>
        <a:p>
          <a:endParaRPr lang="en-US"/>
        </a:p>
      </dgm:t>
    </dgm:pt>
    <dgm:pt modelId="{DF3CDE72-68DC-444C-BB3A-A9938AC77674}">
      <dgm:prSet/>
      <dgm:spPr/>
      <dgm:t>
        <a:bodyPr/>
        <a:lstStyle/>
        <a:p>
          <a:r>
            <a:rPr lang="en-US" dirty="0"/>
            <a:t>Easy event slot booking within the platform</a:t>
          </a:r>
        </a:p>
      </dgm:t>
    </dgm:pt>
    <dgm:pt modelId="{C106C4D2-47AF-4518-AAB8-2A6F65678959}" type="parTrans" cxnId="{448CE568-9591-4E6E-9251-FE5BD9B6DA7B}">
      <dgm:prSet/>
      <dgm:spPr/>
      <dgm:t>
        <a:bodyPr/>
        <a:lstStyle/>
        <a:p>
          <a:endParaRPr lang="en-US"/>
        </a:p>
      </dgm:t>
    </dgm:pt>
    <dgm:pt modelId="{990EA86A-BA57-483A-A89D-95122BAACA4A}" type="sibTrans" cxnId="{448CE568-9591-4E6E-9251-FE5BD9B6DA7B}">
      <dgm:prSet/>
      <dgm:spPr/>
      <dgm:t>
        <a:bodyPr/>
        <a:lstStyle/>
        <a:p>
          <a:endParaRPr lang="en-US"/>
        </a:p>
      </dgm:t>
    </dgm:pt>
    <dgm:pt modelId="{C362E0DB-6A6C-45D7-85A1-C9E88ED3507E}">
      <dgm:prSet/>
      <dgm:spPr/>
      <dgm:t>
        <a:bodyPr/>
        <a:lstStyle/>
        <a:p>
          <a:r>
            <a:rPr lang="en-US" dirty="0"/>
            <a:t> Detailed Event Listings</a:t>
          </a:r>
        </a:p>
      </dgm:t>
    </dgm:pt>
    <dgm:pt modelId="{1F990B2B-C103-43CF-B2CC-4FE0F9883A10}" type="parTrans" cxnId="{36D4251A-8A5E-4967-834F-EA269AE4249E}">
      <dgm:prSet/>
      <dgm:spPr/>
      <dgm:t>
        <a:bodyPr/>
        <a:lstStyle/>
        <a:p>
          <a:endParaRPr lang="en-US"/>
        </a:p>
      </dgm:t>
    </dgm:pt>
    <dgm:pt modelId="{F97553FB-57E5-40AC-B94C-7C851A1A5C3C}" type="sibTrans" cxnId="{36D4251A-8A5E-4967-834F-EA269AE4249E}">
      <dgm:prSet/>
      <dgm:spPr/>
      <dgm:t>
        <a:bodyPr/>
        <a:lstStyle/>
        <a:p>
          <a:endParaRPr lang="en-US"/>
        </a:p>
      </dgm:t>
    </dgm:pt>
    <dgm:pt modelId="{11C0C583-5AF3-4BA2-83E0-1C174BA469A8}">
      <dgm:prSet/>
      <dgm:spPr/>
      <dgm:t>
        <a:bodyPr/>
        <a:lstStyle/>
        <a:p>
          <a:r>
            <a:rPr lang="en-US" dirty="0"/>
            <a:t>Organization-wide sports, games, and competitive activities</a:t>
          </a:r>
        </a:p>
      </dgm:t>
    </dgm:pt>
    <dgm:pt modelId="{E3E05260-BE6E-4EAD-8CE3-2D403BC4DF78}" type="parTrans" cxnId="{53B16DA5-2D65-4466-8C2C-59F7C7EE11C3}">
      <dgm:prSet/>
      <dgm:spPr/>
      <dgm:t>
        <a:bodyPr/>
        <a:lstStyle/>
        <a:p>
          <a:endParaRPr lang="en-US"/>
        </a:p>
      </dgm:t>
    </dgm:pt>
    <dgm:pt modelId="{715301A2-7956-4114-841F-47E7C197A80A}" type="sibTrans" cxnId="{53B16DA5-2D65-4466-8C2C-59F7C7EE11C3}">
      <dgm:prSet/>
      <dgm:spPr/>
      <dgm:t>
        <a:bodyPr/>
        <a:lstStyle/>
        <a:p>
          <a:endParaRPr lang="en-US"/>
        </a:p>
      </dgm:t>
    </dgm:pt>
    <dgm:pt modelId="{AC33E948-B3A5-4E8F-AEDB-E2C18680067A}">
      <dgm:prSet/>
      <dgm:spPr/>
      <dgm:t>
        <a:bodyPr/>
        <a:lstStyle/>
        <a:p>
          <a:r>
            <a:rPr lang="en-US" dirty="0"/>
            <a:t>Track events based on status: ongoing, completed, canceled, or upcoming</a:t>
          </a:r>
        </a:p>
      </dgm:t>
    </dgm:pt>
    <dgm:pt modelId="{6DDF77DC-0F5D-4B87-88F1-9AEA6B751713}" type="parTrans" cxnId="{414D48D0-2ACA-43BD-80B3-945339826ED4}">
      <dgm:prSet/>
      <dgm:spPr/>
      <dgm:t>
        <a:bodyPr/>
        <a:lstStyle/>
        <a:p>
          <a:endParaRPr lang="en-US"/>
        </a:p>
      </dgm:t>
    </dgm:pt>
    <dgm:pt modelId="{9E6D1050-E064-4D50-B571-F4BB6B2A4C54}" type="sibTrans" cxnId="{414D48D0-2ACA-43BD-80B3-945339826ED4}">
      <dgm:prSet/>
      <dgm:spPr/>
      <dgm:t>
        <a:bodyPr/>
        <a:lstStyle/>
        <a:p>
          <a:endParaRPr lang="en-US"/>
        </a:p>
      </dgm:t>
    </dgm:pt>
    <dgm:pt modelId="{24C8882A-B3F0-4FAB-9B5D-CA12E6C23374}">
      <dgm:prSet/>
      <dgm:spPr/>
      <dgm:t>
        <a:bodyPr/>
        <a:lstStyle/>
        <a:p>
          <a:r>
            <a:rPr lang="en-US" dirty="0"/>
            <a:t>Reduced Miscommunication:</a:t>
          </a:r>
        </a:p>
      </dgm:t>
    </dgm:pt>
    <dgm:pt modelId="{1B9137B2-F785-4450-A1C5-8EFD24B30D13}" type="parTrans" cxnId="{2A52896F-BFC9-4E14-9506-57619A8EA9DA}">
      <dgm:prSet/>
      <dgm:spPr/>
      <dgm:t>
        <a:bodyPr/>
        <a:lstStyle/>
        <a:p>
          <a:endParaRPr lang="en-US"/>
        </a:p>
      </dgm:t>
    </dgm:pt>
    <dgm:pt modelId="{A14B4DA5-273E-40B8-AD40-E5B7E7EF63E2}" type="sibTrans" cxnId="{2A52896F-BFC9-4E14-9506-57619A8EA9DA}">
      <dgm:prSet/>
      <dgm:spPr/>
      <dgm:t>
        <a:bodyPr/>
        <a:lstStyle/>
        <a:p>
          <a:endParaRPr lang="en-US"/>
        </a:p>
      </dgm:t>
    </dgm:pt>
    <dgm:pt modelId="{BDFADC23-8D64-4DE4-9D29-93E13327D040}">
      <dgm:prSet/>
      <dgm:spPr/>
      <dgm:t>
        <a:bodyPr/>
        <a:lstStyle/>
        <a:p>
          <a:r>
            <a:rPr lang="en-US" dirty="0"/>
            <a:t>Enhanced productivity by improving clarity between players and organizers.</a:t>
          </a:r>
        </a:p>
      </dgm:t>
    </dgm:pt>
    <dgm:pt modelId="{E1F86211-EC34-4635-B043-1717A9D136FB}" type="parTrans" cxnId="{53D7F3BA-A64D-4FE9-97AB-D2FEF5DDF34C}">
      <dgm:prSet/>
      <dgm:spPr/>
      <dgm:t>
        <a:bodyPr/>
        <a:lstStyle/>
        <a:p>
          <a:endParaRPr lang="en-US"/>
        </a:p>
      </dgm:t>
    </dgm:pt>
    <dgm:pt modelId="{147EC945-B22E-42C9-94CC-6CC10CA075F3}" type="sibTrans" cxnId="{53D7F3BA-A64D-4FE9-97AB-D2FEF5DDF34C}">
      <dgm:prSet/>
      <dgm:spPr/>
      <dgm:t>
        <a:bodyPr/>
        <a:lstStyle/>
        <a:p>
          <a:endParaRPr lang="en-US"/>
        </a:p>
      </dgm:t>
    </dgm:pt>
    <dgm:pt modelId="{80C74F64-B19C-4F66-8395-60AB79047363}" type="pres">
      <dgm:prSet presAssocID="{2B3D3AF4-7012-4F72-8CFE-26C41EB29D3A}" presName="diagram" presStyleCnt="0">
        <dgm:presLayoutVars>
          <dgm:dir/>
          <dgm:resizeHandles val="exact"/>
        </dgm:presLayoutVars>
      </dgm:prSet>
      <dgm:spPr/>
    </dgm:pt>
    <dgm:pt modelId="{A00E0946-211D-411E-B334-B0B48CFF2470}" type="pres">
      <dgm:prSet presAssocID="{4427F374-E9A5-4651-8E2A-7118262BA4A3}" presName="node" presStyleLbl="node1" presStyleIdx="0" presStyleCnt="7">
        <dgm:presLayoutVars>
          <dgm:bulletEnabled val="1"/>
        </dgm:presLayoutVars>
      </dgm:prSet>
      <dgm:spPr/>
    </dgm:pt>
    <dgm:pt modelId="{DF6C021E-B17F-46B0-83CB-8BCEB0FC6343}" type="pres">
      <dgm:prSet presAssocID="{6E171A02-34F1-4E4F-B440-0F82F29B0B0E}" presName="sibTrans" presStyleCnt="0"/>
      <dgm:spPr/>
    </dgm:pt>
    <dgm:pt modelId="{B9B21D78-FA04-4056-B955-179F7D4B509D}" type="pres">
      <dgm:prSet presAssocID="{DF3CDE72-68DC-444C-BB3A-A9938AC77674}" presName="node" presStyleLbl="node1" presStyleIdx="1" presStyleCnt="7">
        <dgm:presLayoutVars>
          <dgm:bulletEnabled val="1"/>
        </dgm:presLayoutVars>
      </dgm:prSet>
      <dgm:spPr/>
    </dgm:pt>
    <dgm:pt modelId="{FD5C73CC-88BE-4D3D-A3F2-7C5EFD778F3E}" type="pres">
      <dgm:prSet presAssocID="{990EA86A-BA57-483A-A89D-95122BAACA4A}" presName="sibTrans" presStyleCnt="0"/>
      <dgm:spPr/>
    </dgm:pt>
    <dgm:pt modelId="{FB2F29F6-C301-4AEA-90A3-7C1ADF0A2B27}" type="pres">
      <dgm:prSet presAssocID="{C362E0DB-6A6C-45D7-85A1-C9E88ED3507E}" presName="node" presStyleLbl="node1" presStyleIdx="2" presStyleCnt="7">
        <dgm:presLayoutVars>
          <dgm:bulletEnabled val="1"/>
        </dgm:presLayoutVars>
      </dgm:prSet>
      <dgm:spPr/>
    </dgm:pt>
    <dgm:pt modelId="{1C5AAAA6-F27F-4B5C-83AB-2F04220DA6B4}" type="pres">
      <dgm:prSet presAssocID="{F97553FB-57E5-40AC-B94C-7C851A1A5C3C}" presName="sibTrans" presStyleCnt="0"/>
      <dgm:spPr/>
    </dgm:pt>
    <dgm:pt modelId="{D35DD2D7-95F7-4E82-A3B9-0A4D97E5A15B}" type="pres">
      <dgm:prSet presAssocID="{11C0C583-5AF3-4BA2-83E0-1C174BA469A8}" presName="node" presStyleLbl="node1" presStyleIdx="3" presStyleCnt="7">
        <dgm:presLayoutVars>
          <dgm:bulletEnabled val="1"/>
        </dgm:presLayoutVars>
      </dgm:prSet>
      <dgm:spPr/>
    </dgm:pt>
    <dgm:pt modelId="{352DADBD-67F3-4275-AB68-36D4414E3A55}" type="pres">
      <dgm:prSet presAssocID="{715301A2-7956-4114-841F-47E7C197A80A}" presName="sibTrans" presStyleCnt="0"/>
      <dgm:spPr/>
    </dgm:pt>
    <dgm:pt modelId="{8624770A-E46D-4596-8872-9B94C3271D8F}" type="pres">
      <dgm:prSet presAssocID="{AC33E948-B3A5-4E8F-AEDB-E2C18680067A}" presName="node" presStyleLbl="node1" presStyleIdx="4" presStyleCnt="7">
        <dgm:presLayoutVars>
          <dgm:bulletEnabled val="1"/>
        </dgm:presLayoutVars>
      </dgm:prSet>
      <dgm:spPr/>
    </dgm:pt>
    <dgm:pt modelId="{25DA06B9-1365-48ED-90BB-18A8F217E638}" type="pres">
      <dgm:prSet presAssocID="{9E6D1050-E064-4D50-B571-F4BB6B2A4C54}" presName="sibTrans" presStyleCnt="0"/>
      <dgm:spPr/>
    </dgm:pt>
    <dgm:pt modelId="{B88D1D76-021D-4572-B583-350BE2B229B1}" type="pres">
      <dgm:prSet presAssocID="{24C8882A-B3F0-4FAB-9B5D-CA12E6C23374}" presName="node" presStyleLbl="node1" presStyleIdx="5" presStyleCnt="7">
        <dgm:presLayoutVars>
          <dgm:bulletEnabled val="1"/>
        </dgm:presLayoutVars>
      </dgm:prSet>
      <dgm:spPr/>
    </dgm:pt>
    <dgm:pt modelId="{287BCAC1-9DB3-4719-80DC-6EDC93A27398}" type="pres">
      <dgm:prSet presAssocID="{A14B4DA5-273E-40B8-AD40-E5B7E7EF63E2}" presName="sibTrans" presStyleCnt="0"/>
      <dgm:spPr/>
    </dgm:pt>
    <dgm:pt modelId="{288AF287-2593-40EB-85F1-1DB00CA6DCAB}" type="pres">
      <dgm:prSet presAssocID="{BDFADC23-8D64-4DE4-9D29-93E13327D040}" presName="node" presStyleLbl="node1" presStyleIdx="6" presStyleCnt="7">
        <dgm:presLayoutVars>
          <dgm:bulletEnabled val="1"/>
        </dgm:presLayoutVars>
      </dgm:prSet>
      <dgm:spPr/>
    </dgm:pt>
  </dgm:ptLst>
  <dgm:cxnLst>
    <dgm:cxn modelId="{A5F65402-7220-416C-B2B6-A5A9C212C490}" type="presOf" srcId="{BDFADC23-8D64-4DE4-9D29-93E13327D040}" destId="{288AF287-2593-40EB-85F1-1DB00CA6DCAB}" srcOrd="0" destOrd="0" presId="urn:microsoft.com/office/officeart/2005/8/layout/default"/>
    <dgm:cxn modelId="{36D4251A-8A5E-4967-834F-EA269AE4249E}" srcId="{2B3D3AF4-7012-4F72-8CFE-26C41EB29D3A}" destId="{C362E0DB-6A6C-45D7-85A1-C9E88ED3507E}" srcOrd="2" destOrd="0" parTransId="{1F990B2B-C103-43CF-B2CC-4FE0F9883A10}" sibTransId="{F97553FB-57E5-40AC-B94C-7C851A1A5C3C}"/>
    <dgm:cxn modelId="{31CE5E1F-4F06-4296-93C3-DAD3E5B9D06B}" type="presOf" srcId="{C362E0DB-6A6C-45D7-85A1-C9E88ED3507E}" destId="{FB2F29F6-C301-4AEA-90A3-7C1ADF0A2B27}" srcOrd="0" destOrd="0" presId="urn:microsoft.com/office/officeart/2005/8/layout/default"/>
    <dgm:cxn modelId="{022DDC25-F3AE-4A95-8C7F-F08E21515DE7}" type="presOf" srcId="{2B3D3AF4-7012-4F72-8CFE-26C41EB29D3A}" destId="{80C74F64-B19C-4F66-8395-60AB79047363}" srcOrd="0" destOrd="0" presId="urn:microsoft.com/office/officeart/2005/8/layout/default"/>
    <dgm:cxn modelId="{448CE568-9591-4E6E-9251-FE5BD9B6DA7B}" srcId="{2B3D3AF4-7012-4F72-8CFE-26C41EB29D3A}" destId="{DF3CDE72-68DC-444C-BB3A-A9938AC77674}" srcOrd="1" destOrd="0" parTransId="{C106C4D2-47AF-4518-AAB8-2A6F65678959}" sibTransId="{990EA86A-BA57-483A-A89D-95122BAACA4A}"/>
    <dgm:cxn modelId="{2A52896F-BFC9-4E14-9506-57619A8EA9DA}" srcId="{2B3D3AF4-7012-4F72-8CFE-26C41EB29D3A}" destId="{24C8882A-B3F0-4FAB-9B5D-CA12E6C23374}" srcOrd="5" destOrd="0" parTransId="{1B9137B2-F785-4450-A1C5-8EFD24B30D13}" sibTransId="{A14B4DA5-273E-40B8-AD40-E5B7E7EF63E2}"/>
    <dgm:cxn modelId="{C73E9873-38EA-499A-9694-608D7E1926CD}" type="presOf" srcId="{24C8882A-B3F0-4FAB-9B5D-CA12E6C23374}" destId="{B88D1D76-021D-4572-B583-350BE2B229B1}" srcOrd="0" destOrd="0" presId="urn:microsoft.com/office/officeart/2005/8/layout/default"/>
    <dgm:cxn modelId="{2CBD339D-0650-48B7-924F-F8E77ED22EA1}" type="presOf" srcId="{4427F374-E9A5-4651-8E2A-7118262BA4A3}" destId="{A00E0946-211D-411E-B334-B0B48CFF2470}" srcOrd="0" destOrd="0" presId="urn:microsoft.com/office/officeart/2005/8/layout/default"/>
    <dgm:cxn modelId="{A6456FA1-FBEC-4C33-AA16-9F175441AE55}" type="presOf" srcId="{AC33E948-B3A5-4E8F-AEDB-E2C18680067A}" destId="{8624770A-E46D-4596-8872-9B94C3271D8F}" srcOrd="0" destOrd="0" presId="urn:microsoft.com/office/officeart/2005/8/layout/default"/>
    <dgm:cxn modelId="{53B16DA5-2D65-4466-8C2C-59F7C7EE11C3}" srcId="{2B3D3AF4-7012-4F72-8CFE-26C41EB29D3A}" destId="{11C0C583-5AF3-4BA2-83E0-1C174BA469A8}" srcOrd="3" destOrd="0" parTransId="{E3E05260-BE6E-4EAD-8CE3-2D403BC4DF78}" sibTransId="{715301A2-7956-4114-841F-47E7C197A80A}"/>
    <dgm:cxn modelId="{AE75C0BA-2736-4319-82E5-D7138AC118A9}" type="presOf" srcId="{DF3CDE72-68DC-444C-BB3A-A9938AC77674}" destId="{B9B21D78-FA04-4056-B955-179F7D4B509D}" srcOrd="0" destOrd="0" presId="urn:microsoft.com/office/officeart/2005/8/layout/default"/>
    <dgm:cxn modelId="{53D7F3BA-A64D-4FE9-97AB-D2FEF5DDF34C}" srcId="{2B3D3AF4-7012-4F72-8CFE-26C41EB29D3A}" destId="{BDFADC23-8D64-4DE4-9D29-93E13327D040}" srcOrd="6" destOrd="0" parTransId="{E1F86211-EC34-4635-B043-1717A9D136FB}" sibTransId="{147EC945-B22E-42C9-94CC-6CC10CA075F3}"/>
    <dgm:cxn modelId="{3CDE47C6-CB40-4C08-A357-7D0ACDFC78E5}" srcId="{2B3D3AF4-7012-4F72-8CFE-26C41EB29D3A}" destId="{4427F374-E9A5-4651-8E2A-7118262BA4A3}" srcOrd="0" destOrd="0" parTransId="{E260B8E6-DBE6-41FA-B104-83C43D576F7D}" sibTransId="{6E171A02-34F1-4E4F-B440-0F82F29B0B0E}"/>
    <dgm:cxn modelId="{3B0833C9-0271-470A-AAA4-C83D5B680EC3}" type="presOf" srcId="{11C0C583-5AF3-4BA2-83E0-1C174BA469A8}" destId="{D35DD2D7-95F7-4E82-A3B9-0A4D97E5A15B}" srcOrd="0" destOrd="0" presId="urn:microsoft.com/office/officeart/2005/8/layout/default"/>
    <dgm:cxn modelId="{414D48D0-2ACA-43BD-80B3-945339826ED4}" srcId="{2B3D3AF4-7012-4F72-8CFE-26C41EB29D3A}" destId="{AC33E948-B3A5-4E8F-AEDB-E2C18680067A}" srcOrd="4" destOrd="0" parTransId="{6DDF77DC-0F5D-4B87-88F1-9AEA6B751713}" sibTransId="{9E6D1050-E064-4D50-B571-F4BB6B2A4C54}"/>
    <dgm:cxn modelId="{5A1E9CA4-499D-46E9-832B-D1A24FACBF01}" type="presParOf" srcId="{80C74F64-B19C-4F66-8395-60AB79047363}" destId="{A00E0946-211D-411E-B334-B0B48CFF2470}" srcOrd="0" destOrd="0" presId="urn:microsoft.com/office/officeart/2005/8/layout/default"/>
    <dgm:cxn modelId="{E8A33FB8-FB4E-4FA7-B6A0-90B0CE1A8E23}" type="presParOf" srcId="{80C74F64-B19C-4F66-8395-60AB79047363}" destId="{DF6C021E-B17F-46B0-83CB-8BCEB0FC6343}" srcOrd="1" destOrd="0" presId="urn:microsoft.com/office/officeart/2005/8/layout/default"/>
    <dgm:cxn modelId="{502E28F3-BB52-40F2-AB58-00F7560D087D}" type="presParOf" srcId="{80C74F64-B19C-4F66-8395-60AB79047363}" destId="{B9B21D78-FA04-4056-B955-179F7D4B509D}" srcOrd="2" destOrd="0" presId="urn:microsoft.com/office/officeart/2005/8/layout/default"/>
    <dgm:cxn modelId="{E3204CD0-1686-4AD5-BDA2-3043D5D71DFB}" type="presParOf" srcId="{80C74F64-B19C-4F66-8395-60AB79047363}" destId="{FD5C73CC-88BE-4D3D-A3F2-7C5EFD778F3E}" srcOrd="3" destOrd="0" presId="urn:microsoft.com/office/officeart/2005/8/layout/default"/>
    <dgm:cxn modelId="{9C59988E-59AA-44EA-9A45-8BBF5A5FF422}" type="presParOf" srcId="{80C74F64-B19C-4F66-8395-60AB79047363}" destId="{FB2F29F6-C301-4AEA-90A3-7C1ADF0A2B27}" srcOrd="4" destOrd="0" presId="urn:microsoft.com/office/officeart/2005/8/layout/default"/>
    <dgm:cxn modelId="{54E4538E-4406-44E1-B2AF-1914514E915F}" type="presParOf" srcId="{80C74F64-B19C-4F66-8395-60AB79047363}" destId="{1C5AAAA6-F27F-4B5C-83AB-2F04220DA6B4}" srcOrd="5" destOrd="0" presId="urn:microsoft.com/office/officeart/2005/8/layout/default"/>
    <dgm:cxn modelId="{444CD229-229D-438E-B282-8D018FE6CFA9}" type="presParOf" srcId="{80C74F64-B19C-4F66-8395-60AB79047363}" destId="{D35DD2D7-95F7-4E82-A3B9-0A4D97E5A15B}" srcOrd="6" destOrd="0" presId="urn:microsoft.com/office/officeart/2005/8/layout/default"/>
    <dgm:cxn modelId="{AF879540-898E-4106-A2EC-0F0933E4D797}" type="presParOf" srcId="{80C74F64-B19C-4F66-8395-60AB79047363}" destId="{352DADBD-67F3-4275-AB68-36D4414E3A55}" srcOrd="7" destOrd="0" presId="urn:microsoft.com/office/officeart/2005/8/layout/default"/>
    <dgm:cxn modelId="{C8B4D44C-F290-4D76-986D-3D02B79402B2}" type="presParOf" srcId="{80C74F64-B19C-4F66-8395-60AB79047363}" destId="{8624770A-E46D-4596-8872-9B94C3271D8F}" srcOrd="8" destOrd="0" presId="urn:microsoft.com/office/officeart/2005/8/layout/default"/>
    <dgm:cxn modelId="{389112E4-5B76-4D4E-9B4C-6C0BFBE0AC42}" type="presParOf" srcId="{80C74F64-B19C-4F66-8395-60AB79047363}" destId="{25DA06B9-1365-48ED-90BB-18A8F217E638}" srcOrd="9" destOrd="0" presId="urn:microsoft.com/office/officeart/2005/8/layout/default"/>
    <dgm:cxn modelId="{DD8105C5-085E-4FB1-B6B6-540EDF30A7D8}" type="presParOf" srcId="{80C74F64-B19C-4F66-8395-60AB79047363}" destId="{B88D1D76-021D-4572-B583-350BE2B229B1}" srcOrd="10" destOrd="0" presId="urn:microsoft.com/office/officeart/2005/8/layout/default"/>
    <dgm:cxn modelId="{901C08DC-74DC-4ADF-9D3C-9AACFADFA894}" type="presParOf" srcId="{80C74F64-B19C-4F66-8395-60AB79047363}" destId="{287BCAC1-9DB3-4719-80DC-6EDC93A27398}" srcOrd="11" destOrd="0" presId="urn:microsoft.com/office/officeart/2005/8/layout/default"/>
    <dgm:cxn modelId="{8A7E9BDF-0F5F-404A-A5AC-5464F7552D9A}" type="presParOf" srcId="{80C74F64-B19C-4F66-8395-60AB79047363}" destId="{288AF287-2593-40EB-85F1-1DB00CA6DCAB}" srcOrd="12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F8628A8-DE07-4ECD-A3FC-F7B65EE3BA34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D9B1944E-081F-4182-8BB7-FB7F0AEB02BD}">
      <dgm:prSet/>
      <dgm:spPr/>
      <dgm:t>
        <a:bodyPr/>
        <a:lstStyle/>
        <a:p>
          <a:r>
            <a:rPr lang="en-US"/>
            <a:t>- Frontend: HTML &amp; CSS</a:t>
          </a:r>
        </a:p>
      </dgm:t>
    </dgm:pt>
    <dgm:pt modelId="{D57B7DB1-F274-4962-89C5-A6149C7CC19C}" type="parTrans" cxnId="{4D4EDBF5-1234-4958-91BE-C2998C0F3F89}">
      <dgm:prSet/>
      <dgm:spPr/>
      <dgm:t>
        <a:bodyPr/>
        <a:lstStyle/>
        <a:p>
          <a:endParaRPr lang="en-US"/>
        </a:p>
      </dgm:t>
    </dgm:pt>
    <dgm:pt modelId="{E5867D76-6579-4146-96CB-574D15C0E589}" type="sibTrans" cxnId="{4D4EDBF5-1234-4958-91BE-C2998C0F3F89}">
      <dgm:prSet/>
      <dgm:spPr/>
      <dgm:t>
        <a:bodyPr/>
        <a:lstStyle/>
        <a:p>
          <a:endParaRPr lang="en-US"/>
        </a:p>
      </dgm:t>
    </dgm:pt>
    <dgm:pt modelId="{163710FD-F9FD-4BE4-B458-1D3D8028E35F}">
      <dgm:prSet/>
      <dgm:spPr/>
      <dgm:t>
        <a:bodyPr/>
        <a:lstStyle/>
        <a:p>
          <a:r>
            <a:rPr lang="en-US"/>
            <a:t>- Middleware/Backend: Node.js, React.js</a:t>
          </a:r>
        </a:p>
      </dgm:t>
    </dgm:pt>
    <dgm:pt modelId="{826FB94C-E3D9-4A28-8FDB-A0F10DDFDAF6}" type="parTrans" cxnId="{11C13FE5-52AD-445D-AC2B-ACB28B1A1E3B}">
      <dgm:prSet/>
      <dgm:spPr/>
      <dgm:t>
        <a:bodyPr/>
        <a:lstStyle/>
        <a:p>
          <a:endParaRPr lang="en-US"/>
        </a:p>
      </dgm:t>
    </dgm:pt>
    <dgm:pt modelId="{8A7911B8-94B5-4A99-813D-B874A59F16AB}" type="sibTrans" cxnId="{11C13FE5-52AD-445D-AC2B-ACB28B1A1E3B}">
      <dgm:prSet/>
      <dgm:spPr/>
      <dgm:t>
        <a:bodyPr/>
        <a:lstStyle/>
        <a:p>
          <a:endParaRPr lang="en-US"/>
        </a:p>
      </dgm:t>
    </dgm:pt>
    <dgm:pt modelId="{03AA57EF-221D-4C64-B2B0-22EA3A9431B1}">
      <dgm:prSet/>
      <dgm:spPr/>
      <dgm:t>
        <a:bodyPr/>
        <a:lstStyle/>
        <a:p>
          <a:r>
            <a:rPr lang="en-US"/>
            <a:t>- Database &amp; Server Management: MongoDB (Hosted on local PC)</a:t>
          </a:r>
        </a:p>
      </dgm:t>
    </dgm:pt>
    <dgm:pt modelId="{CC6C52FC-E32B-4B71-8810-F87F4E84B4D4}" type="parTrans" cxnId="{47996C97-D01C-40EC-BDC8-48BD150E533F}">
      <dgm:prSet/>
      <dgm:spPr/>
      <dgm:t>
        <a:bodyPr/>
        <a:lstStyle/>
        <a:p>
          <a:endParaRPr lang="en-US"/>
        </a:p>
      </dgm:t>
    </dgm:pt>
    <dgm:pt modelId="{C38F3C80-0AC4-49EF-9295-FBC07608C6A9}" type="sibTrans" cxnId="{47996C97-D01C-40EC-BDC8-48BD150E533F}">
      <dgm:prSet/>
      <dgm:spPr/>
      <dgm:t>
        <a:bodyPr/>
        <a:lstStyle/>
        <a:p>
          <a:endParaRPr lang="en-US"/>
        </a:p>
      </dgm:t>
    </dgm:pt>
    <dgm:pt modelId="{A65323B4-F5E9-4241-B35C-BAA84A3F2765}" type="pres">
      <dgm:prSet presAssocID="{AF8628A8-DE07-4ECD-A3FC-F7B65EE3BA34}" presName="root" presStyleCnt="0">
        <dgm:presLayoutVars>
          <dgm:dir/>
          <dgm:resizeHandles val="exact"/>
        </dgm:presLayoutVars>
      </dgm:prSet>
      <dgm:spPr/>
    </dgm:pt>
    <dgm:pt modelId="{2280B541-E89C-4DF5-A6B7-2285244A5452}" type="pres">
      <dgm:prSet presAssocID="{D9B1944E-081F-4182-8BB7-FB7F0AEB02BD}" presName="compNode" presStyleCnt="0"/>
      <dgm:spPr/>
    </dgm:pt>
    <dgm:pt modelId="{07256E15-B67B-4F34-B511-B81E29333F5A}" type="pres">
      <dgm:prSet presAssocID="{D9B1944E-081F-4182-8BB7-FB7F0AEB02BD}" presName="bgRect" presStyleLbl="bgShp" presStyleIdx="0" presStyleCnt="3"/>
      <dgm:spPr/>
    </dgm:pt>
    <dgm:pt modelId="{58818C53-6155-4BAA-90A3-207B9CEEDA25}" type="pres">
      <dgm:prSet presAssocID="{D9B1944E-081F-4182-8BB7-FB7F0AEB02BD}" presName="iconRect" presStyleLbl="nod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Web Design"/>
        </a:ext>
      </dgm:extLst>
    </dgm:pt>
    <dgm:pt modelId="{399DB919-71C8-4F71-A049-C41183C36299}" type="pres">
      <dgm:prSet presAssocID="{D9B1944E-081F-4182-8BB7-FB7F0AEB02BD}" presName="spaceRect" presStyleCnt="0"/>
      <dgm:spPr/>
    </dgm:pt>
    <dgm:pt modelId="{4ABC3EA7-A939-41C8-8F9C-EA50AD13A6B5}" type="pres">
      <dgm:prSet presAssocID="{D9B1944E-081F-4182-8BB7-FB7F0AEB02BD}" presName="parTx" presStyleLbl="revTx" presStyleIdx="0" presStyleCnt="3">
        <dgm:presLayoutVars>
          <dgm:chMax val="0"/>
          <dgm:chPref val="0"/>
        </dgm:presLayoutVars>
      </dgm:prSet>
      <dgm:spPr/>
    </dgm:pt>
    <dgm:pt modelId="{72CBEFDC-8361-40BA-89BD-D30EF47F020D}" type="pres">
      <dgm:prSet presAssocID="{E5867D76-6579-4146-96CB-574D15C0E589}" presName="sibTrans" presStyleCnt="0"/>
      <dgm:spPr/>
    </dgm:pt>
    <dgm:pt modelId="{289E7A8C-6A20-4764-A0FE-9A8A0334B1AB}" type="pres">
      <dgm:prSet presAssocID="{163710FD-F9FD-4BE4-B458-1D3D8028E35F}" presName="compNode" presStyleCnt="0"/>
      <dgm:spPr/>
    </dgm:pt>
    <dgm:pt modelId="{7CE2B936-A833-43AF-AB21-0E87AA5FB7A8}" type="pres">
      <dgm:prSet presAssocID="{163710FD-F9FD-4BE4-B458-1D3D8028E35F}" presName="bgRect" presStyleLbl="bgShp" presStyleIdx="1" presStyleCnt="3"/>
      <dgm:spPr/>
    </dgm:pt>
    <dgm:pt modelId="{494514D7-2BC9-4AA4-871F-09DCE2C703EC}" type="pres">
      <dgm:prSet presAssocID="{163710FD-F9FD-4BE4-B458-1D3D8028E35F}" presName="iconRect" presStyleLbl="nod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Server"/>
        </a:ext>
      </dgm:extLst>
    </dgm:pt>
    <dgm:pt modelId="{0BAC55DF-174D-4E9E-8CF4-EF62736F45EE}" type="pres">
      <dgm:prSet presAssocID="{163710FD-F9FD-4BE4-B458-1D3D8028E35F}" presName="spaceRect" presStyleCnt="0"/>
      <dgm:spPr/>
    </dgm:pt>
    <dgm:pt modelId="{FC819498-4B94-4B3E-87D0-7CDC0BA96FE0}" type="pres">
      <dgm:prSet presAssocID="{163710FD-F9FD-4BE4-B458-1D3D8028E35F}" presName="parTx" presStyleLbl="revTx" presStyleIdx="1" presStyleCnt="3">
        <dgm:presLayoutVars>
          <dgm:chMax val="0"/>
          <dgm:chPref val="0"/>
        </dgm:presLayoutVars>
      </dgm:prSet>
      <dgm:spPr/>
    </dgm:pt>
    <dgm:pt modelId="{8E5FCC51-0242-4C91-88FA-BACD63461B2B}" type="pres">
      <dgm:prSet presAssocID="{8A7911B8-94B5-4A99-813D-B874A59F16AB}" presName="sibTrans" presStyleCnt="0"/>
      <dgm:spPr/>
    </dgm:pt>
    <dgm:pt modelId="{CF075DFE-B8ED-4E2E-A43E-E1463EA05607}" type="pres">
      <dgm:prSet presAssocID="{03AA57EF-221D-4C64-B2B0-22EA3A9431B1}" presName="compNode" presStyleCnt="0"/>
      <dgm:spPr/>
    </dgm:pt>
    <dgm:pt modelId="{470D8906-94AD-4DDF-A7B4-F4156498FEED}" type="pres">
      <dgm:prSet presAssocID="{03AA57EF-221D-4C64-B2B0-22EA3A9431B1}" presName="bgRect" presStyleLbl="bgShp" presStyleIdx="2" presStyleCnt="3"/>
      <dgm:spPr/>
    </dgm:pt>
    <dgm:pt modelId="{81C61056-9983-4347-B464-790D01A09835}" type="pres">
      <dgm:prSet presAssocID="{03AA57EF-221D-4C64-B2B0-22EA3A9431B1}" presName="iconRect" presStyleLbl="nod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atabase"/>
        </a:ext>
      </dgm:extLst>
    </dgm:pt>
    <dgm:pt modelId="{D06D006B-34C6-4702-8E3C-BF9F8EF21A3C}" type="pres">
      <dgm:prSet presAssocID="{03AA57EF-221D-4C64-B2B0-22EA3A9431B1}" presName="spaceRect" presStyleCnt="0"/>
      <dgm:spPr/>
    </dgm:pt>
    <dgm:pt modelId="{2065EBE4-A91B-4DAC-A95A-F20E84526540}" type="pres">
      <dgm:prSet presAssocID="{03AA57EF-221D-4C64-B2B0-22EA3A9431B1}" presName="parTx" presStyleLbl="revTx" presStyleIdx="2" presStyleCnt="3">
        <dgm:presLayoutVars>
          <dgm:chMax val="0"/>
          <dgm:chPref val="0"/>
        </dgm:presLayoutVars>
      </dgm:prSet>
      <dgm:spPr/>
    </dgm:pt>
  </dgm:ptLst>
  <dgm:cxnLst>
    <dgm:cxn modelId="{A2956539-0F36-48BA-9CE5-A022BBB39C83}" type="presOf" srcId="{03AA57EF-221D-4C64-B2B0-22EA3A9431B1}" destId="{2065EBE4-A91B-4DAC-A95A-F20E84526540}" srcOrd="0" destOrd="0" presId="urn:microsoft.com/office/officeart/2018/2/layout/IconVerticalSolidList"/>
    <dgm:cxn modelId="{9AD3258C-6A89-49A0-BB69-B159024B216A}" type="presOf" srcId="{AF8628A8-DE07-4ECD-A3FC-F7B65EE3BA34}" destId="{A65323B4-F5E9-4241-B35C-BAA84A3F2765}" srcOrd="0" destOrd="0" presId="urn:microsoft.com/office/officeart/2018/2/layout/IconVerticalSolidList"/>
    <dgm:cxn modelId="{20963F8F-6054-4F14-95AD-253E5C18D94D}" type="presOf" srcId="{163710FD-F9FD-4BE4-B458-1D3D8028E35F}" destId="{FC819498-4B94-4B3E-87D0-7CDC0BA96FE0}" srcOrd="0" destOrd="0" presId="urn:microsoft.com/office/officeart/2018/2/layout/IconVerticalSolidList"/>
    <dgm:cxn modelId="{47996C97-D01C-40EC-BDC8-48BD150E533F}" srcId="{AF8628A8-DE07-4ECD-A3FC-F7B65EE3BA34}" destId="{03AA57EF-221D-4C64-B2B0-22EA3A9431B1}" srcOrd="2" destOrd="0" parTransId="{CC6C52FC-E32B-4B71-8810-F87F4E84B4D4}" sibTransId="{C38F3C80-0AC4-49EF-9295-FBC07608C6A9}"/>
    <dgm:cxn modelId="{E142E9CD-7077-4EA4-8164-18F64A41B55A}" type="presOf" srcId="{D9B1944E-081F-4182-8BB7-FB7F0AEB02BD}" destId="{4ABC3EA7-A939-41C8-8F9C-EA50AD13A6B5}" srcOrd="0" destOrd="0" presId="urn:microsoft.com/office/officeart/2018/2/layout/IconVerticalSolidList"/>
    <dgm:cxn modelId="{11C13FE5-52AD-445D-AC2B-ACB28B1A1E3B}" srcId="{AF8628A8-DE07-4ECD-A3FC-F7B65EE3BA34}" destId="{163710FD-F9FD-4BE4-B458-1D3D8028E35F}" srcOrd="1" destOrd="0" parTransId="{826FB94C-E3D9-4A28-8FDB-A0F10DDFDAF6}" sibTransId="{8A7911B8-94B5-4A99-813D-B874A59F16AB}"/>
    <dgm:cxn modelId="{4D4EDBF5-1234-4958-91BE-C2998C0F3F89}" srcId="{AF8628A8-DE07-4ECD-A3FC-F7B65EE3BA34}" destId="{D9B1944E-081F-4182-8BB7-FB7F0AEB02BD}" srcOrd="0" destOrd="0" parTransId="{D57B7DB1-F274-4962-89C5-A6149C7CC19C}" sibTransId="{E5867D76-6579-4146-96CB-574D15C0E589}"/>
    <dgm:cxn modelId="{4D6DED44-DC76-4269-9C85-3EA1DDD9B715}" type="presParOf" srcId="{A65323B4-F5E9-4241-B35C-BAA84A3F2765}" destId="{2280B541-E89C-4DF5-A6B7-2285244A5452}" srcOrd="0" destOrd="0" presId="urn:microsoft.com/office/officeart/2018/2/layout/IconVerticalSolidList"/>
    <dgm:cxn modelId="{3B534A40-1931-4062-BA1D-8DC6FCE33535}" type="presParOf" srcId="{2280B541-E89C-4DF5-A6B7-2285244A5452}" destId="{07256E15-B67B-4F34-B511-B81E29333F5A}" srcOrd="0" destOrd="0" presId="urn:microsoft.com/office/officeart/2018/2/layout/IconVerticalSolidList"/>
    <dgm:cxn modelId="{18798150-AED0-4C85-9483-E500552E9091}" type="presParOf" srcId="{2280B541-E89C-4DF5-A6B7-2285244A5452}" destId="{58818C53-6155-4BAA-90A3-207B9CEEDA25}" srcOrd="1" destOrd="0" presId="urn:microsoft.com/office/officeart/2018/2/layout/IconVerticalSolidList"/>
    <dgm:cxn modelId="{070BE0C1-87DC-427D-AD89-CA052B5100AF}" type="presParOf" srcId="{2280B541-E89C-4DF5-A6B7-2285244A5452}" destId="{399DB919-71C8-4F71-A049-C41183C36299}" srcOrd="2" destOrd="0" presId="urn:microsoft.com/office/officeart/2018/2/layout/IconVerticalSolidList"/>
    <dgm:cxn modelId="{BD3A0942-162A-466F-B834-EBEEDEF7BD80}" type="presParOf" srcId="{2280B541-E89C-4DF5-A6B7-2285244A5452}" destId="{4ABC3EA7-A939-41C8-8F9C-EA50AD13A6B5}" srcOrd="3" destOrd="0" presId="urn:microsoft.com/office/officeart/2018/2/layout/IconVerticalSolidList"/>
    <dgm:cxn modelId="{70BC708A-C01A-404F-8B8A-6C6AF5E57A4A}" type="presParOf" srcId="{A65323B4-F5E9-4241-B35C-BAA84A3F2765}" destId="{72CBEFDC-8361-40BA-89BD-D30EF47F020D}" srcOrd="1" destOrd="0" presId="urn:microsoft.com/office/officeart/2018/2/layout/IconVerticalSolidList"/>
    <dgm:cxn modelId="{BCAA45DE-AC3F-4F74-9619-5C4878117153}" type="presParOf" srcId="{A65323B4-F5E9-4241-B35C-BAA84A3F2765}" destId="{289E7A8C-6A20-4764-A0FE-9A8A0334B1AB}" srcOrd="2" destOrd="0" presId="urn:microsoft.com/office/officeart/2018/2/layout/IconVerticalSolidList"/>
    <dgm:cxn modelId="{A58B511C-F4CA-4877-9526-5969291AE19B}" type="presParOf" srcId="{289E7A8C-6A20-4764-A0FE-9A8A0334B1AB}" destId="{7CE2B936-A833-43AF-AB21-0E87AA5FB7A8}" srcOrd="0" destOrd="0" presId="urn:microsoft.com/office/officeart/2018/2/layout/IconVerticalSolidList"/>
    <dgm:cxn modelId="{714741AC-846C-47CA-944A-40420D54ED59}" type="presParOf" srcId="{289E7A8C-6A20-4764-A0FE-9A8A0334B1AB}" destId="{494514D7-2BC9-4AA4-871F-09DCE2C703EC}" srcOrd="1" destOrd="0" presId="urn:microsoft.com/office/officeart/2018/2/layout/IconVerticalSolidList"/>
    <dgm:cxn modelId="{BE4FA8FB-61A1-4E08-BBC4-F31C6AEEE784}" type="presParOf" srcId="{289E7A8C-6A20-4764-A0FE-9A8A0334B1AB}" destId="{0BAC55DF-174D-4E9E-8CF4-EF62736F45EE}" srcOrd="2" destOrd="0" presId="urn:microsoft.com/office/officeart/2018/2/layout/IconVerticalSolidList"/>
    <dgm:cxn modelId="{28A97584-1516-4E1E-BE2E-31631FBEF091}" type="presParOf" srcId="{289E7A8C-6A20-4764-A0FE-9A8A0334B1AB}" destId="{FC819498-4B94-4B3E-87D0-7CDC0BA96FE0}" srcOrd="3" destOrd="0" presId="urn:microsoft.com/office/officeart/2018/2/layout/IconVerticalSolidList"/>
    <dgm:cxn modelId="{B2F4B9B3-FF2C-4A4C-BD65-039548621696}" type="presParOf" srcId="{A65323B4-F5E9-4241-B35C-BAA84A3F2765}" destId="{8E5FCC51-0242-4C91-88FA-BACD63461B2B}" srcOrd="3" destOrd="0" presId="urn:microsoft.com/office/officeart/2018/2/layout/IconVerticalSolidList"/>
    <dgm:cxn modelId="{D2E1A934-581D-41BF-9651-4D05308FD37E}" type="presParOf" srcId="{A65323B4-F5E9-4241-B35C-BAA84A3F2765}" destId="{CF075DFE-B8ED-4E2E-A43E-E1463EA05607}" srcOrd="4" destOrd="0" presId="urn:microsoft.com/office/officeart/2018/2/layout/IconVerticalSolidList"/>
    <dgm:cxn modelId="{372D4424-434D-4384-9EE9-5F9BF611107F}" type="presParOf" srcId="{CF075DFE-B8ED-4E2E-A43E-E1463EA05607}" destId="{470D8906-94AD-4DDF-A7B4-F4156498FEED}" srcOrd="0" destOrd="0" presId="urn:microsoft.com/office/officeart/2018/2/layout/IconVerticalSolidList"/>
    <dgm:cxn modelId="{1EB6568D-B333-4935-9571-B7703BA47345}" type="presParOf" srcId="{CF075DFE-B8ED-4E2E-A43E-E1463EA05607}" destId="{81C61056-9983-4347-B464-790D01A09835}" srcOrd="1" destOrd="0" presId="urn:microsoft.com/office/officeart/2018/2/layout/IconVerticalSolidList"/>
    <dgm:cxn modelId="{EB40717B-4EF6-49F4-9AFF-496152B97FFC}" type="presParOf" srcId="{CF075DFE-B8ED-4E2E-A43E-E1463EA05607}" destId="{D06D006B-34C6-4702-8E3C-BF9F8EF21A3C}" srcOrd="2" destOrd="0" presId="urn:microsoft.com/office/officeart/2018/2/layout/IconVerticalSolidList"/>
    <dgm:cxn modelId="{00DFDBB2-7B09-43C8-A1CB-5FAE028E1AC5}" type="presParOf" srcId="{CF075DFE-B8ED-4E2E-A43E-E1463EA05607}" destId="{2065EBE4-A91B-4DAC-A95A-F20E84526540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D69D16C0-C3D3-43B9-A5F2-B29986A1F092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97B397B5-27B3-4B80-8EB0-3CDFBD0D0C64}">
      <dgm:prSet/>
      <dgm:spPr/>
      <dgm:t>
        <a:bodyPr/>
        <a:lstStyle/>
        <a:p>
          <a:r>
            <a:rPr lang="en-US"/>
            <a:t>Steps in the Platform:</a:t>
          </a:r>
        </a:p>
      </dgm:t>
    </dgm:pt>
    <dgm:pt modelId="{7E20E429-26C4-4538-8AD0-2991EA050C25}" type="parTrans" cxnId="{CC6BF353-9FAD-4663-B76E-1D159320D0E6}">
      <dgm:prSet/>
      <dgm:spPr/>
      <dgm:t>
        <a:bodyPr/>
        <a:lstStyle/>
        <a:p>
          <a:endParaRPr lang="en-US"/>
        </a:p>
      </dgm:t>
    </dgm:pt>
    <dgm:pt modelId="{145675DD-03EF-4DA1-946B-2C99DDE70951}" type="sibTrans" cxnId="{CC6BF353-9FAD-4663-B76E-1D159320D0E6}">
      <dgm:prSet/>
      <dgm:spPr/>
      <dgm:t>
        <a:bodyPr/>
        <a:lstStyle/>
        <a:p>
          <a:endParaRPr lang="en-US"/>
        </a:p>
      </dgm:t>
    </dgm:pt>
    <dgm:pt modelId="{C7500D54-E770-4678-89FA-DA0BD09D1AB0}">
      <dgm:prSet/>
      <dgm:spPr/>
      <dgm:t>
        <a:bodyPr/>
        <a:lstStyle/>
        <a:p>
          <a:r>
            <a:rPr lang="en-US"/>
            <a:t>- Booking: Users book event slots.</a:t>
          </a:r>
        </a:p>
      </dgm:t>
    </dgm:pt>
    <dgm:pt modelId="{E7207D3D-3AE2-48BF-8376-C495A61F1B5F}" type="parTrans" cxnId="{D113046F-08FA-4163-BB4B-EC4871CE69D8}">
      <dgm:prSet/>
      <dgm:spPr/>
      <dgm:t>
        <a:bodyPr/>
        <a:lstStyle/>
        <a:p>
          <a:endParaRPr lang="en-US"/>
        </a:p>
      </dgm:t>
    </dgm:pt>
    <dgm:pt modelId="{90A80361-006D-4D0B-A679-FEEEF06C1928}" type="sibTrans" cxnId="{D113046F-08FA-4163-BB4B-EC4871CE69D8}">
      <dgm:prSet/>
      <dgm:spPr/>
      <dgm:t>
        <a:bodyPr/>
        <a:lstStyle/>
        <a:p>
          <a:endParaRPr lang="en-US"/>
        </a:p>
      </dgm:t>
    </dgm:pt>
    <dgm:pt modelId="{6521376E-E509-429B-AE2C-21D73FD29E6F}">
      <dgm:prSet/>
      <dgm:spPr/>
      <dgm:t>
        <a:bodyPr/>
        <a:lstStyle/>
        <a:p>
          <a:r>
            <a:rPr lang="en-US"/>
            <a:t>- Tracking: Admins and users monitor event statuses.</a:t>
          </a:r>
        </a:p>
      </dgm:t>
    </dgm:pt>
    <dgm:pt modelId="{9EBF9C0E-AC2C-483B-881E-968ECC7315DE}" type="parTrans" cxnId="{6FF8E89B-2614-4A51-ACAA-096A94E16DA0}">
      <dgm:prSet/>
      <dgm:spPr/>
      <dgm:t>
        <a:bodyPr/>
        <a:lstStyle/>
        <a:p>
          <a:endParaRPr lang="en-US"/>
        </a:p>
      </dgm:t>
    </dgm:pt>
    <dgm:pt modelId="{4690E8DC-6709-4A4B-9E5C-BCACC0B66F8A}" type="sibTrans" cxnId="{6FF8E89B-2614-4A51-ACAA-096A94E16DA0}">
      <dgm:prSet/>
      <dgm:spPr/>
      <dgm:t>
        <a:bodyPr/>
        <a:lstStyle/>
        <a:p>
          <a:endParaRPr lang="en-US"/>
        </a:p>
      </dgm:t>
    </dgm:pt>
    <dgm:pt modelId="{C62C1DC9-8EC2-4455-B02F-E9E5B15FA5B9}">
      <dgm:prSet/>
      <dgm:spPr/>
      <dgm:t>
        <a:bodyPr/>
        <a:lstStyle/>
        <a:p>
          <a:r>
            <a:rPr lang="en-US"/>
            <a:t>- Notifications: Automatic updates for ongoing and upcoming events.</a:t>
          </a:r>
        </a:p>
      </dgm:t>
    </dgm:pt>
    <dgm:pt modelId="{60EB6B7F-603F-4202-812A-368203EA5B57}" type="parTrans" cxnId="{B480576A-8999-494F-9FC5-32E9A860F846}">
      <dgm:prSet/>
      <dgm:spPr/>
      <dgm:t>
        <a:bodyPr/>
        <a:lstStyle/>
        <a:p>
          <a:endParaRPr lang="en-US"/>
        </a:p>
      </dgm:t>
    </dgm:pt>
    <dgm:pt modelId="{3129E1FA-F15C-4BEA-837B-D44B8012050C}" type="sibTrans" cxnId="{B480576A-8999-494F-9FC5-32E9A860F846}">
      <dgm:prSet/>
      <dgm:spPr/>
      <dgm:t>
        <a:bodyPr/>
        <a:lstStyle/>
        <a:p>
          <a:endParaRPr lang="en-US"/>
        </a:p>
      </dgm:t>
    </dgm:pt>
    <dgm:pt modelId="{DF9B326B-DA22-44B8-819F-3FBBC2EA2C17}" type="pres">
      <dgm:prSet presAssocID="{D69D16C0-C3D3-43B9-A5F2-B29986A1F092}" presName="root" presStyleCnt="0">
        <dgm:presLayoutVars>
          <dgm:dir/>
          <dgm:resizeHandles val="exact"/>
        </dgm:presLayoutVars>
      </dgm:prSet>
      <dgm:spPr/>
    </dgm:pt>
    <dgm:pt modelId="{2118111A-6B37-4D0B-89C8-DF30695D9D38}" type="pres">
      <dgm:prSet presAssocID="{97B397B5-27B3-4B80-8EB0-3CDFBD0D0C64}" presName="compNode" presStyleCnt="0"/>
      <dgm:spPr/>
    </dgm:pt>
    <dgm:pt modelId="{F798EE8D-08C8-4D00-B82E-332135C61D5B}" type="pres">
      <dgm:prSet presAssocID="{97B397B5-27B3-4B80-8EB0-3CDFBD0D0C64}" presName="bgRect" presStyleLbl="bgShp" presStyleIdx="0" presStyleCnt="4"/>
      <dgm:spPr/>
    </dgm:pt>
    <dgm:pt modelId="{BF777C3F-630C-428C-BA18-999049D1292C}" type="pres">
      <dgm:prSet presAssocID="{97B397B5-27B3-4B80-8EB0-3CDFBD0D0C64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ocument"/>
        </a:ext>
      </dgm:extLst>
    </dgm:pt>
    <dgm:pt modelId="{D4658D2D-7523-42CA-A40B-DCAEC0067F3B}" type="pres">
      <dgm:prSet presAssocID="{97B397B5-27B3-4B80-8EB0-3CDFBD0D0C64}" presName="spaceRect" presStyleCnt="0"/>
      <dgm:spPr/>
    </dgm:pt>
    <dgm:pt modelId="{8F419010-F8AE-4E6C-AE0D-10096D44A877}" type="pres">
      <dgm:prSet presAssocID="{97B397B5-27B3-4B80-8EB0-3CDFBD0D0C64}" presName="parTx" presStyleLbl="revTx" presStyleIdx="0" presStyleCnt="4">
        <dgm:presLayoutVars>
          <dgm:chMax val="0"/>
          <dgm:chPref val="0"/>
        </dgm:presLayoutVars>
      </dgm:prSet>
      <dgm:spPr/>
    </dgm:pt>
    <dgm:pt modelId="{FB0C2F93-2175-4256-A324-A70C040926AA}" type="pres">
      <dgm:prSet presAssocID="{145675DD-03EF-4DA1-946B-2C99DDE70951}" presName="sibTrans" presStyleCnt="0"/>
      <dgm:spPr/>
    </dgm:pt>
    <dgm:pt modelId="{E5DC5F1E-8FDA-45F0-94DA-6F12403A155D}" type="pres">
      <dgm:prSet presAssocID="{C7500D54-E770-4678-89FA-DA0BD09D1AB0}" presName="compNode" presStyleCnt="0"/>
      <dgm:spPr/>
    </dgm:pt>
    <dgm:pt modelId="{F7F4DBE4-06A8-4DD1-AB9E-9BC361FD7486}" type="pres">
      <dgm:prSet presAssocID="{C7500D54-E770-4678-89FA-DA0BD09D1AB0}" presName="bgRect" presStyleLbl="bgShp" presStyleIdx="1" presStyleCnt="4"/>
      <dgm:spPr/>
    </dgm:pt>
    <dgm:pt modelId="{80D2E855-5FFA-4551-93BA-3E3DDE62A425}" type="pres">
      <dgm:prSet presAssocID="{C7500D54-E770-4678-89FA-DA0BD09D1AB0}" presName="iconRect" presStyleLbl="node1" presStyleIdx="1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Marketing"/>
        </a:ext>
      </dgm:extLst>
    </dgm:pt>
    <dgm:pt modelId="{64583C3A-F870-4BA8-9909-BDA7EEB6467D}" type="pres">
      <dgm:prSet presAssocID="{C7500D54-E770-4678-89FA-DA0BD09D1AB0}" presName="spaceRect" presStyleCnt="0"/>
      <dgm:spPr/>
    </dgm:pt>
    <dgm:pt modelId="{EFFF1DDB-95A5-4CEC-8B3B-C60C16D384F3}" type="pres">
      <dgm:prSet presAssocID="{C7500D54-E770-4678-89FA-DA0BD09D1AB0}" presName="parTx" presStyleLbl="revTx" presStyleIdx="1" presStyleCnt="4">
        <dgm:presLayoutVars>
          <dgm:chMax val="0"/>
          <dgm:chPref val="0"/>
        </dgm:presLayoutVars>
      </dgm:prSet>
      <dgm:spPr/>
    </dgm:pt>
    <dgm:pt modelId="{86083CB6-3539-4CC0-9278-106ACD58E0A0}" type="pres">
      <dgm:prSet presAssocID="{90A80361-006D-4D0B-A679-FEEEF06C1928}" presName="sibTrans" presStyleCnt="0"/>
      <dgm:spPr/>
    </dgm:pt>
    <dgm:pt modelId="{081A629A-F318-4E5A-AA30-2C42DC06D185}" type="pres">
      <dgm:prSet presAssocID="{6521376E-E509-429B-AE2C-21D73FD29E6F}" presName="compNode" presStyleCnt="0"/>
      <dgm:spPr/>
    </dgm:pt>
    <dgm:pt modelId="{3C81C165-0226-459E-8DEF-C9C92CE569F8}" type="pres">
      <dgm:prSet presAssocID="{6521376E-E509-429B-AE2C-21D73FD29E6F}" presName="bgRect" presStyleLbl="bgShp" presStyleIdx="2" presStyleCnt="4"/>
      <dgm:spPr/>
    </dgm:pt>
    <dgm:pt modelId="{B3374C87-B359-4EA1-A4F2-D62586860F19}" type="pres">
      <dgm:prSet presAssocID="{6521376E-E509-429B-AE2C-21D73FD29E6F}" presName="iconRect" presStyleLbl="node1" presStyleIdx="2" presStyleCnt="4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Target Audience"/>
        </a:ext>
      </dgm:extLst>
    </dgm:pt>
    <dgm:pt modelId="{040A53E1-4E8F-4EF6-BA00-9978A7D0E40C}" type="pres">
      <dgm:prSet presAssocID="{6521376E-E509-429B-AE2C-21D73FD29E6F}" presName="spaceRect" presStyleCnt="0"/>
      <dgm:spPr/>
    </dgm:pt>
    <dgm:pt modelId="{FBC682E3-4B3F-41DA-878C-DF70CE3B1A30}" type="pres">
      <dgm:prSet presAssocID="{6521376E-E509-429B-AE2C-21D73FD29E6F}" presName="parTx" presStyleLbl="revTx" presStyleIdx="2" presStyleCnt="4">
        <dgm:presLayoutVars>
          <dgm:chMax val="0"/>
          <dgm:chPref val="0"/>
        </dgm:presLayoutVars>
      </dgm:prSet>
      <dgm:spPr/>
    </dgm:pt>
    <dgm:pt modelId="{50C5FEB0-7E27-43D5-AC40-9A153D807137}" type="pres">
      <dgm:prSet presAssocID="{4690E8DC-6709-4A4B-9E5C-BCACC0B66F8A}" presName="sibTrans" presStyleCnt="0"/>
      <dgm:spPr/>
    </dgm:pt>
    <dgm:pt modelId="{85E402CE-9F47-4180-9F43-933BF14466DB}" type="pres">
      <dgm:prSet presAssocID="{C62C1DC9-8EC2-4455-B02F-E9E5B15FA5B9}" presName="compNode" presStyleCnt="0"/>
      <dgm:spPr/>
    </dgm:pt>
    <dgm:pt modelId="{751A36CE-FDBD-4975-9B1A-6C8A77D42FCD}" type="pres">
      <dgm:prSet presAssocID="{C62C1DC9-8EC2-4455-B02F-E9E5B15FA5B9}" presName="bgRect" presStyleLbl="bgShp" presStyleIdx="3" presStyleCnt="4"/>
      <dgm:spPr/>
    </dgm:pt>
    <dgm:pt modelId="{A1024235-BB83-4D74-AB17-3C986E6B7C63}" type="pres">
      <dgm:prSet presAssocID="{C62C1DC9-8EC2-4455-B02F-E9E5B15FA5B9}" presName="iconRect" presStyleLbl="node1" presStyleIdx="3" presStyleCnt="4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Ringer"/>
        </a:ext>
      </dgm:extLst>
    </dgm:pt>
    <dgm:pt modelId="{FF803000-13B2-435E-A4E5-D9F39B568A9D}" type="pres">
      <dgm:prSet presAssocID="{C62C1DC9-8EC2-4455-B02F-E9E5B15FA5B9}" presName="spaceRect" presStyleCnt="0"/>
      <dgm:spPr/>
    </dgm:pt>
    <dgm:pt modelId="{B53243D2-CA96-4C9D-8E82-A8ADFBBF1DEE}" type="pres">
      <dgm:prSet presAssocID="{C62C1DC9-8EC2-4455-B02F-E9E5B15FA5B9}" presName="parTx" presStyleLbl="revTx" presStyleIdx="3" presStyleCnt="4">
        <dgm:presLayoutVars>
          <dgm:chMax val="0"/>
          <dgm:chPref val="0"/>
        </dgm:presLayoutVars>
      </dgm:prSet>
      <dgm:spPr/>
    </dgm:pt>
  </dgm:ptLst>
  <dgm:cxnLst>
    <dgm:cxn modelId="{401ED91A-267E-4CDB-A8C7-9BBB758D6E31}" type="presOf" srcId="{C7500D54-E770-4678-89FA-DA0BD09D1AB0}" destId="{EFFF1DDB-95A5-4CEC-8B3B-C60C16D384F3}" srcOrd="0" destOrd="0" presId="urn:microsoft.com/office/officeart/2018/2/layout/IconVerticalSolidList"/>
    <dgm:cxn modelId="{771D571B-05A3-40AD-8056-37D62806F908}" type="presOf" srcId="{D69D16C0-C3D3-43B9-A5F2-B29986A1F092}" destId="{DF9B326B-DA22-44B8-819F-3FBBC2EA2C17}" srcOrd="0" destOrd="0" presId="urn:microsoft.com/office/officeart/2018/2/layout/IconVerticalSolidList"/>
    <dgm:cxn modelId="{E56C292B-C3A8-45C9-8772-91D96040C1DA}" type="presOf" srcId="{97B397B5-27B3-4B80-8EB0-3CDFBD0D0C64}" destId="{8F419010-F8AE-4E6C-AE0D-10096D44A877}" srcOrd="0" destOrd="0" presId="urn:microsoft.com/office/officeart/2018/2/layout/IconVerticalSolidList"/>
    <dgm:cxn modelId="{B480576A-8999-494F-9FC5-32E9A860F846}" srcId="{D69D16C0-C3D3-43B9-A5F2-B29986A1F092}" destId="{C62C1DC9-8EC2-4455-B02F-E9E5B15FA5B9}" srcOrd="3" destOrd="0" parTransId="{60EB6B7F-603F-4202-812A-368203EA5B57}" sibTransId="{3129E1FA-F15C-4BEA-837B-D44B8012050C}"/>
    <dgm:cxn modelId="{D113046F-08FA-4163-BB4B-EC4871CE69D8}" srcId="{D69D16C0-C3D3-43B9-A5F2-B29986A1F092}" destId="{C7500D54-E770-4678-89FA-DA0BD09D1AB0}" srcOrd="1" destOrd="0" parTransId="{E7207D3D-3AE2-48BF-8376-C495A61F1B5F}" sibTransId="{90A80361-006D-4D0B-A679-FEEEF06C1928}"/>
    <dgm:cxn modelId="{7D1C454F-ED82-429B-86D8-0DA660DF2C3F}" type="presOf" srcId="{6521376E-E509-429B-AE2C-21D73FD29E6F}" destId="{FBC682E3-4B3F-41DA-878C-DF70CE3B1A30}" srcOrd="0" destOrd="0" presId="urn:microsoft.com/office/officeart/2018/2/layout/IconVerticalSolidList"/>
    <dgm:cxn modelId="{CC6BF353-9FAD-4663-B76E-1D159320D0E6}" srcId="{D69D16C0-C3D3-43B9-A5F2-B29986A1F092}" destId="{97B397B5-27B3-4B80-8EB0-3CDFBD0D0C64}" srcOrd="0" destOrd="0" parTransId="{7E20E429-26C4-4538-8AD0-2991EA050C25}" sibTransId="{145675DD-03EF-4DA1-946B-2C99DDE70951}"/>
    <dgm:cxn modelId="{6FF8E89B-2614-4A51-ACAA-096A94E16DA0}" srcId="{D69D16C0-C3D3-43B9-A5F2-B29986A1F092}" destId="{6521376E-E509-429B-AE2C-21D73FD29E6F}" srcOrd="2" destOrd="0" parTransId="{9EBF9C0E-AC2C-483B-881E-968ECC7315DE}" sibTransId="{4690E8DC-6709-4A4B-9E5C-BCACC0B66F8A}"/>
    <dgm:cxn modelId="{9DB4F1C4-173B-49CA-991A-BA873DFF73F8}" type="presOf" srcId="{C62C1DC9-8EC2-4455-B02F-E9E5B15FA5B9}" destId="{B53243D2-CA96-4C9D-8E82-A8ADFBBF1DEE}" srcOrd="0" destOrd="0" presId="urn:microsoft.com/office/officeart/2018/2/layout/IconVerticalSolidList"/>
    <dgm:cxn modelId="{2F4B96F5-D701-4E93-A391-A7DB9DFD5DB5}" type="presParOf" srcId="{DF9B326B-DA22-44B8-819F-3FBBC2EA2C17}" destId="{2118111A-6B37-4D0B-89C8-DF30695D9D38}" srcOrd="0" destOrd="0" presId="urn:microsoft.com/office/officeart/2018/2/layout/IconVerticalSolidList"/>
    <dgm:cxn modelId="{C4271B15-09EC-4F0F-8865-612352C2EFA3}" type="presParOf" srcId="{2118111A-6B37-4D0B-89C8-DF30695D9D38}" destId="{F798EE8D-08C8-4D00-B82E-332135C61D5B}" srcOrd="0" destOrd="0" presId="urn:microsoft.com/office/officeart/2018/2/layout/IconVerticalSolidList"/>
    <dgm:cxn modelId="{DF36B3A8-7815-4CC0-8860-3E08126B8A19}" type="presParOf" srcId="{2118111A-6B37-4D0B-89C8-DF30695D9D38}" destId="{BF777C3F-630C-428C-BA18-999049D1292C}" srcOrd="1" destOrd="0" presId="urn:microsoft.com/office/officeart/2018/2/layout/IconVerticalSolidList"/>
    <dgm:cxn modelId="{EDD26F8D-30B6-4A87-914C-A4E83F7CC600}" type="presParOf" srcId="{2118111A-6B37-4D0B-89C8-DF30695D9D38}" destId="{D4658D2D-7523-42CA-A40B-DCAEC0067F3B}" srcOrd="2" destOrd="0" presId="urn:microsoft.com/office/officeart/2018/2/layout/IconVerticalSolidList"/>
    <dgm:cxn modelId="{021FD7CE-4218-4375-9325-A1EFA832CB97}" type="presParOf" srcId="{2118111A-6B37-4D0B-89C8-DF30695D9D38}" destId="{8F419010-F8AE-4E6C-AE0D-10096D44A877}" srcOrd="3" destOrd="0" presId="urn:microsoft.com/office/officeart/2018/2/layout/IconVerticalSolidList"/>
    <dgm:cxn modelId="{4C34E6CE-2FB4-43AC-8CF8-67720B1E84DE}" type="presParOf" srcId="{DF9B326B-DA22-44B8-819F-3FBBC2EA2C17}" destId="{FB0C2F93-2175-4256-A324-A70C040926AA}" srcOrd="1" destOrd="0" presId="urn:microsoft.com/office/officeart/2018/2/layout/IconVerticalSolidList"/>
    <dgm:cxn modelId="{4AD59D81-0942-4028-8B01-E92FB0B80BF4}" type="presParOf" srcId="{DF9B326B-DA22-44B8-819F-3FBBC2EA2C17}" destId="{E5DC5F1E-8FDA-45F0-94DA-6F12403A155D}" srcOrd="2" destOrd="0" presId="urn:microsoft.com/office/officeart/2018/2/layout/IconVerticalSolidList"/>
    <dgm:cxn modelId="{11BA1BA9-5FBB-4A28-89C3-A90B8B8ACED2}" type="presParOf" srcId="{E5DC5F1E-8FDA-45F0-94DA-6F12403A155D}" destId="{F7F4DBE4-06A8-4DD1-AB9E-9BC361FD7486}" srcOrd="0" destOrd="0" presId="urn:microsoft.com/office/officeart/2018/2/layout/IconVerticalSolidList"/>
    <dgm:cxn modelId="{2E09630C-36B4-4728-9FB8-32EDDFFD4A24}" type="presParOf" srcId="{E5DC5F1E-8FDA-45F0-94DA-6F12403A155D}" destId="{80D2E855-5FFA-4551-93BA-3E3DDE62A425}" srcOrd="1" destOrd="0" presId="urn:microsoft.com/office/officeart/2018/2/layout/IconVerticalSolidList"/>
    <dgm:cxn modelId="{B2F67060-7EBD-479B-BF98-2956CBE42ECC}" type="presParOf" srcId="{E5DC5F1E-8FDA-45F0-94DA-6F12403A155D}" destId="{64583C3A-F870-4BA8-9909-BDA7EEB6467D}" srcOrd="2" destOrd="0" presId="urn:microsoft.com/office/officeart/2018/2/layout/IconVerticalSolidList"/>
    <dgm:cxn modelId="{9FBD52CF-6131-48B4-A1FF-D65FB62B419A}" type="presParOf" srcId="{E5DC5F1E-8FDA-45F0-94DA-6F12403A155D}" destId="{EFFF1DDB-95A5-4CEC-8B3B-C60C16D384F3}" srcOrd="3" destOrd="0" presId="urn:microsoft.com/office/officeart/2018/2/layout/IconVerticalSolidList"/>
    <dgm:cxn modelId="{2749B67E-F6DF-469A-AEAF-AD70E0D82D8E}" type="presParOf" srcId="{DF9B326B-DA22-44B8-819F-3FBBC2EA2C17}" destId="{86083CB6-3539-4CC0-9278-106ACD58E0A0}" srcOrd="3" destOrd="0" presId="urn:microsoft.com/office/officeart/2018/2/layout/IconVerticalSolidList"/>
    <dgm:cxn modelId="{2A1ECA27-6F7A-468A-AEB5-5389514F3435}" type="presParOf" srcId="{DF9B326B-DA22-44B8-819F-3FBBC2EA2C17}" destId="{081A629A-F318-4E5A-AA30-2C42DC06D185}" srcOrd="4" destOrd="0" presId="urn:microsoft.com/office/officeart/2018/2/layout/IconVerticalSolidList"/>
    <dgm:cxn modelId="{17B6F110-2C90-4039-9959-80B1DC02D4EE}" type="presParOf" srcId="{081A629A-F318-4E5A-AA30-2C42DC06D185}" destId="{3C81C165-0226-459E-8DEF-C9C92CE569F8}" srcOrd="0" destOrd="0" presId="urn:microsoft.com/office/officeart/2018/2/layout/IconVerticalSolidList"/>
    <dgm:cxn modelId="{82C76C09-4002-4E7E-9008-F661F5C504B4}" type="presParOf" srcId="{081A629A-F318-4E5A-AA30-2C42DC06D185}" destId="{B3374C87-B359-4EA1-A4F2-D62586860F19}" srcOrd="1" destOrd="0" presId="urn:microsoft.com/office/officeart/2018/2/layout/IconVerticalSolidList"/>
    <dgm:cxn modelId="{DEACC37A-883E-4818-AC51-F53070352DC6}" type="presParOf" srcId="{081A629A-F318-4E5A-AA30-2C42DC06D185}" destId="{040A53E1-4E8F-4EF6-BA00-9978A7D0E40C}" srcOrd="2" destOrd="0" presId="urn:microsoft.com/office/officeart/2018/2/layout/IconVerticalSolidList"/>
    <dgm:cxn modelId="{F8DEB632-5EE2-47EE-86BB-D54188D2C53E}" type="presParOf" srcId="{081A629A-F318-4E5A-AA30-2C42DC06D185}" destId="{FBC682E3-4B3F-41DA-878C-DF70CE3B1A30}" srcOrd="3" destOrd="0" presId="urn:microsoft.com/office/officeart/2018/2/layout/IconVerticalSolidList"/>
    <dgm:cxn modelId="{45212704-D8EA-4C06-B75B-82CB901E36B5}" type="presParOf" srcId="{DF9B326B-DA22-44B8-819F-3FBBC2EA2C17}" destId="{50C5FEB0-7E27-43D5-AC40-9A153D807137}" srcOrd="5" destOrd="0" presId="urn:microsoft.com/office/officeart/2018/2/layout/IconVerticalSolidList"/>
    <dgm:cxn modelId="{D2252914-6536-44F0-B2C7-FCD108502826}" type="presParOf" srcId="{DF9B326B-DA22-44B8-819F-3FBBC2EA2C17}" destId="{85E402CE-9F47-4180-9F43-933BF14466DB}" srcOrd="6" destOrd="0" presId="urn:microsoft.com/office/officeart/2018/2/layout/IconVerticalSolidList"/>
    <dgm:cxn modelId="{028DC084-1A6F-4422-A105-CAA29114C660}" type="presParOf" srcId="{85E402CE-9F47-4180-9F43-933BF14466DB}" destId="{751A36CE-FDBD-4975-9B1A-6C8A77D42FCD}" srcOrd="0" destOrd="0" presId="urn:microsoft.com/office/officeart/2018/2/layout/IconVerticalSolidList"/>
    <dgm:cxn modelId="{3431B889-7DEC-4EE8-8AEC-7777CB7FD6AE}" type="presParOf" srcId="{85E402CE-9F47-4180-9F43-933BF14466DB}" destId="{A1024235-BB83-4D74-AB17-3C986E6B7C63}" srcOrd="1" destOrd="0" presId="urn:microsoft.com/office/officeart/2018/2/layout/IconVerticalSolidList"/>
    <dgm:cxn modelId="{4DEFE0C4-FAA3-4A92-B069-7C900A5E74DB}" type="presParOf" srcId="{85E402CE-9F47-4180-9F43-933BF14466DB}" destId="{FF803000-13B2-435E-A4E5-D9F39B568A9D}" srcOrd="2" destOrd="0" presId="urn:microsoft.com/office/officeart/2018/2/layout/IconVerticalSolidList"/>
    <dgm:cxn modelId="{DFEDA56A-7F1D-4570-B308-F6EA7E8239A4}" type="presParOf" srcId="{85E402CE-9F47-4180-9F43-933BF14466DB}" destId="{B53243D2-CA96-4C9D-8E82-A8ADFBBF1DEE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4F140A15-B2A7-4C93-BBA4-675786CF617C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FAAADE66-B079-4522-B74E-B6666FDCAF87}">
      <dgm:prSet/>
      <dgm:spPr/>
      <dgm:t>
        <a:bodyPr/>
        <a:lstStyle/>
        <a:p>
          <a:r>
            <a:rPr lang="en-US"/>
            <a:t>- Saves time with centralized event management.</a:t>
          </a:r>
        </a:p>
      </dgm:t>
    </dgm:pt>
    <dgm:pt modelId="{6A0DC990-EFD9-4158-994C-FAADAB0246E8}" type="parTrans" cxnId="{69D7D8AA-E573-4AC9-8A02-582BC8B86011}">
      <dgm:prSet/>
      <dgm:spPr/>
      <dgm:t>
        <a:bodyPr/>
        <a:lstStyle/>
        <a:p>
          <a:endParaRPr lang="en-US"/>
        </a:p>
      </dgm:t>
    </dgm:pt>
    <dgm:pt modelId="{5F8DF0BE-8CE9-421F-AA17-E29EC0248280}" type="sibTrans" cxnId="{69D7D8AA-E573-4AC9-8A02-582BC8B86011}">
      <dgm:prSet/>
      <dgm:spPr/>
      <dgm:t>
        <a:bodyPr/>
        <a:lstStyle/>
        <a:p>
          <a:endParaRPr lang="en-US"/>
        </a:p>
      </dgm:t>
    </dgm:pt>
    <dgm:pt modelId="{7DBD9A51-FEBC-4DDB-BD1B-8421498CD3BA}">
      <dgm:prSet/>
      <dgm:spPr/>
      <dgm:t>
        <a:bodyPr/>
        <a:lstStyle/>
        <a:p>
          <a:r>
            <a:rPr lang="en-US"/>
            <a:t>- Increases player productivity by reducing miscommunication.</a:t>
          </a:r>
        </a:p>
      </dgm:t>
    </dgm:pt>
    <dgm:pt modelId="{D17DF3C1-1E74-457B-A7BA-271994E5C3FA}" type="parTrans" cxnId="{41E51DCF-2440-43F7-9A8C-2A198F61AF27}">
      <dgm:prSet/>
      <dgm:spPr/>
      <dgm:t>
        <a:bodyPr/>
        <a:lstStyle/>
        <a:p>
          <a:endParaRPr lang="en-US"/>
        </a:p>
      </dgm:t>
    </dgm:pt>
    <dgm:pt modelId="{EA5AE4EC-7E07-4508-8B22-5288B96299B2}" type="sibTrans" cxnId="{41E51DCF-2440-43F7-9A8C-2A198F61AF27}">
      <dgm:prSet/>
      <dgm:spPr/>
      <dgm:t>
        <a:bodyPr/>
        <a:lstStyle/>
        <a:p>
          <a:endParaRPr lang="en-US"/>
        </a:p>
      </dgm:t>
    </dgm:pt>
    <dgm:pt modelId="{D34A0DF4-F4E3-4185-B0E0-80BC03FC5D39}">
      <dgm:prSet/>
      <dgm:spPr/>
      <dgm:t>
        <a:bodyPr/>
        <a:lstStyle/>
        <a:p>
          <a:r>
            <a:rPr lang="en-US"/>
            <a:t>- Provides real-time updates on tournament progress.</a:t>
          </a:r>
        </a:p>
      </dgm:t>
    </dgm:pt>
    <dgm:pt modelId="{F235A739-4554-45D5-9DF8-4BA431D32B0B}" type="parTrans" cxnId="{7F3B84EE-F792-4374-AE54-2EDCAC3433D1}">
      <dgm:prSet/>
      <dgm:spPr/>
      <dgm:t>
        <a:bodyPr/>
        <a:lstStyle/>
        <a:p>
          <a:endParaRPr lang="en-US"/>
        </a:p>
      </dgm:t>
    </dgm:pt>
    <dgm:pt modelId="{EB099208-E184-4CE8-8D79-0EA1C82DA824}" type="sibTrans" cxnId="{7F3B84EE-F792-4374-AE54-2EDCAC3433D1}">
      <dgm:prSet/>
      <dgm:spPr/>
      <dgm:t>
        <a:bodyPr/>
        <a:lstStyle/>
        <a:p>
          <a:endParaRPr lang="en-US"/>
        </a:p>
      </dgm:t>
    </dgm:pt>
    <dgm:pt modelId="{1DC2FB38-095D-4864-94CD-90F438DE6F45}" type="pres">
      <dgm:prSet presAssocID="{4F140A15-B2A7-4C93-BBA4-675786CF617C}" presName="root" presStyleCnt="0">
        <dgm:presLayoutVars>
          <dgm:dir/>
          <dgm:resizeHandles val="exact"/>
        </dgm:presLayoutVars>
      </dgm:prSet>
      <dgm:spPr/>
    </dgm:pt>
    <dgm:pt modelId="{53099705-1651-4EDC-9B66-AADB5FC50639}" type="pres">
      <dgm:prSet presAssocID="{FAAADE66-B079-4522-B74E-B6666FDCAF87}" presName="compNode" presStyleCnt="0"/>
      <dgm:spPr/>
    </dgm:pt>
    <dgm:pt modelId="{E1227330-6E42-4603-8E5F-A5660582C28B}" type="pres">
      <dgm:prSet presAssocID="{FAAADE66-B079-4522-B74E-B6666FDCAF87}" presName="bgRect" presStyleLbl="bgShp" presStyleIdx="0" presStyleCnt="3"/>
      <dgm:spPr/>
    </dgm:pt>
    <dgm:pt modelId="{2FBCE9B1-2628-4A14-895C-749F7B85D463}" type="pres">
      <dgm:prSet presAssocID="{FAAADE66-B079-4522-B74E-B6666FDCAF87}" presName="iconRect" presStyleLbl="nod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Stopwatch"/>
        </a:ext>
      </dgm:extLst>
    </dgm:pt>
    <dgm:pt modelId="{494621E8-A4FC-4F1C-B607-70A4062B3CFE}" type="pres">
      <dgm:prSet presAssocID="{FAAADE66-B079-4522-B74E-B6666FDCAF87}" presName="spaceRect" presStyleCnt="0"/>
      <dgm:spPr/>
    </dgm:pt>
    <dgm:pt modelId="{BD1D0594-DA3E-490E-9F74-9ACAFDAE1994}" type="pres">
      <dgm:prSet presAssocID="{FAAADE66-B079-4522-B74E-B6666FDCAF87}" presName="parTx" presStyleLbl="revTx" presStyleIdx="0" presStyleCnt="3">
        <dgm:presLayoutVars>
          <dgm:chMax val="0"/>
          <dgm:chPref val="0"/>
        </dgm:presLayoutVars>
      </dgm:prSet>
      <dgm:spPr/>
    </dgm:pt>
    <dgm:pt modelId="{E2FECCB9-FBB5-40FB-8C31-6A0862C10363}" type="pres">
      <dgm:prSet presAssocID="{5F8DF0BE-8CE9-421F-AA17-E29EC0248280}" presName="sibTrans" presStyleCnt="0"/>
      <dgm:spPr/>
    </dgm:pt>
    <dgm:pt modelId="{127AABF5-81FE-4545-AE5E-F2A0F410FF48}" type="pres">
      <dgm:prSet presAssocID="{7DBD9A51-FEBC-4DDB-BD1B-8421498CD3BA}" presName="compNode" presStyleCnt="0"/>
      <dgm:spPr/>
    </dgm:pt>
    <dgm:pt modelId="{1C24E1F1-0ADA-41E2-934E-E479970D59B8}" type="pres">
      <dgm:prSet presAssocID="{7DBD9A51-FEBC-4DDB-BD1B-8421498CD3BA}" presName="bgRect" presStyleLbl="bgShp" presStyleIdx="1" presStyleCnt="3"/>
      <dgm:spPr/>
    </dgm:pt>
    <dgm:pt modelId="{52D49111-2950-4B3C-A4A6-8E22E5D711F6}" type="pres">
      <dgm:prSet presAssocID="{7DBD9A51-FEBC-4DDB-BD1B-8421498CD3BA}" presName="iconRect" presStyleLbl="nod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Person with Cane"/>
        </a:ext>
      </dgm:extLst>
    </dgm:pt>
    <dgm:pt modelId="{9FA5F905-B6DD-4819-B1F3-5170A877EDE0}" type="pres">
      <dgm:prSet presAssocID="{7DBD9A51-FEBC-4DDB-BD1B-8421498CD3BA}" presName="spaceRect" presStyleCnt="0"/>
      <dgm:spPr/>
    </dgm:pt>
    <dgm:pt modelId="{5E35E90A-64D2-4236-9CD9-BDC39FC264E2}" type="pres">
      <dgm:prSet presAssocID="{7DBD9A51-FEBC-4DDB-BD1B-8421498CD3BA}" presName="parTx" presStyleLbl="revTx" presStyleIdx="1" presStyleCnt="3">
        <dgm:presLayoutVars>
          <dgm:chMax val="0"/>
          <dgm:chPref val="0"/>
        </dgm:presLayoutVars>
      </dgm:prSet>
      <dgm:spPr/>
    </dgm:pt>
    <dgm:pt modelId="{BD0A30EE-6369-42B5-9BBE-2EB6C12C5049}" type="pres">
      <dgm:prSet presAssocID="{EA5AE4EC-7E07-4508-8B22-5288B96299B2}" presName="sibTrans" presStyleCnt="0"/>
      <dgm:spPr/>
    </dgm:pt>
    <dgm:pt modelId="{C08F73B2-0520-4FE4-A396-A22E3C331B3C}" type="pres">
      <dgm:prSet presAssocID="{D34A0DF4-F4E3-4185-B0E0-80BC03FC5D39}" presName="compNode" presStyleCnt="0"/>
      <dgm:spPr/>
    </dgm:pt>
    <dgm:pt modelId="{4D1D9634-82A8-4A85-822B-33676D7BB250}" type="pres">
      <dgm:prSet presAssocID="{D34A0DF4-F4E3-4185-B0E0-80BC03FC5D39}" presName="bgRect" presStyleLbl="bgShp" presStyleIdx="2" presStyleCnt="3"/>
      <dgm:spPr/>
    </dgm:pt>
    <dgm:pt modelId="{C61F6686-1855-43E5-8F49-095CCCBAFABA}" type="pres">
      <dgm:prSet presAssocID="{D34A0DF4-F4E3-4185-B0E0-80BC03FC5D39}" presName="iconRect" presStyleLbl="nod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Trophy"/>
        </a:ext>
      </dgm:extLst>
    </dgm:pt>
    <dgm:pt modelId="{6885792E-826D-4908-9132-D27C26032E6C}" type="pres">
      <dgm:prSet presAssocID="{D34A0DF4-F4E3-4185-B0E0-80BC03FC5D39}" presName="spaceRect" presStyleCnt="0"/>
      <dgm:spPr/>
    </dgm:pt>
    <dgm:pt modelId="{BB3EDBB2-F198-407C-A4F2-6FA228DBC1FF}" type="pres">
      <dgm:prSet presAssocID="{D34A0DF4-F4E3-4185-B0E0-80BC03FC5D39}" presName="parTx" presStyleLbl="revTx" presStyleIdx="2" presStyleCnt="3">
        <dgm:presLayoutVars>
          <dgm:chMax val="0"/>
          <dgm:chPref val="0"/>
        </dgm:presLayoutVars>
      </dgm:prSet>
      <dgm:spPr/>
    </dgm:pt>
  </dgm:ptLst>
  <dgm:cxnLst>
    <dgm:cxn modelId="{A452E369-A22F-4834-8D41-918F68676EC2}" type="presOf" srcId="{4F140A15-B2A7-4C93-BBA4-675786CF617C}" destId="{1DC2FB38-095D-4864-94CD-90F438DE6F45}" srcOrd="0" destOrd="0" presId="urn:microsoft.com/office/officeart/2018/2/layout/IconVerticalSolidList"/>
    <dgm:cxn modelId="{69D7D8AA-E573-4AC9-8A02-582BC8B86011}" srcId="{4F140A15-B2A7-4C93-BBA4-675786CF617C}" destId="{FAAADE66-B079-4522-B74E-B6666FDCAF87}" srcOrd="0" destOrd="0" parTransId="{6A0DC990-EFD9-4158-994C-FAADAB0246E8}" sibTransId="{5F8DF0BE-8CE9-421F-AA17-E29EC0248280}"/>
    <dgm:cxn modelId="{41E51DCF-2440-43F7-9A8C-2A198F61AF27}" srcId="{4F140A15-B2A7-4C93-BBA4-675786CF617C}" destId="{7DBD9A51-FEBC-4DDB-BD1B-8421498CD3BA}" srcOrd="1" destOrd="0" parTransId="{D17DF3C1-1E74-457B-A7BA-271994E5C3FA}" sibTransId="{EA5AE4EC-7E07-4508-8B22-5288B96299B2}"/>
    <dgm:cxn modelId="{AE03FCD3-B6D1-41D2-9FDC-CA5391C015BA}" type="presOf" srcId="{7DBD9A51-FEBC-4DDB-BD1B-8421498CD3BA}" destId="{5E35E90A-64D2-4236-9CD9-BDC39FC264E2}" srcOrd="0" destOrd="0" presId="urn:microsoft.com/office/officeart/2018/2/layout/IconVerticalSolidList"/>
    <dgm:cxn modelId="{97A152D9-461A-4871-B76B-BE6E5ED9B6AC}" type="presOf" srcId="{FAAADE66-B079-4522-B74E-B6666FDCAF87}" destId="{BD1D0594-DA3E-490E-9F74-9ACAFDAE1994}" srcOrd="0" destOrd="0" presId="urn:microsoft.com/office/officeart/2018/2/layout/IconVerticalSolidList"/>
    <dgm:cxn modelId="{9C36B2E8-9F4B-4B25-BCA5-DC3F8DEE5D48}" type="presOf" srcId="{D34A0DF4-F4E3-4185-B0E0-80BC03FC5D39}" destId="{BB3EDBB2-F198-407C-A4F2-6FA228DBC1FF}" srcOrd="0" destOrd="0" presId="urn:microsoft.com/office/officeart/2018/2/layout/IconVerticalSolidList"/>
    <dgm:cxn modelId="{7F3B84EE-F792-4374-AE54-2EDCAC3433D1}" srcId="{4F140A15-B2A7-4C93-BBA4-675786CF617C}" destId="{D34A0DF4-F4E3-4185-B0E0-80BC03FC5D39}" srcOrd="2" destOrd="0" parTransId="{F235A739-4554-45D5-9DF8-4BA431D32B0B}" sibTransId="{EB099208-E184-4CE8-8D79-0EA1C82DA824}"/>
    <dgm:cxn modelId="{2D571769-B2EE-4E3E-BCBE-5E56DEB3F06F}" type="presParOf" srcId="{1DC2FB38-095D-4864-94CD-90F438DE6F45}" destId="{53099705-1651-4EDC-9B66-AADB5FC50639}" srcOrd="0" destOrd="0" presId="urn:microsoft.com/office/officeart/2018/2/layout/IconVerticalSolidList"/>
    <dgm:cxn modelId="{53AE21CD-D5E4-4414-BB93-37AF15980642}" type="presParOf" srcId="{53099705-1651-4EDC-9B66-AADB5FC50639}" destId="{E1227330-6E42-4603-8E5F-A5660582C28B}" srcOrd="0" destOrd="0" presId="urn:microsoft.com/office/officeart/2018/2/layout/IconVerticalSolidList"/>
    <dgm:cxn modelId="{CFB8B19E-0BDF-4206-8482-4BF9585A291E}" type="presParOf" srcId="{53099705-1651-4EDC-9B66-AADB5FC50639}" destId="{2FBCE9B1-2628-4A14-895C-749F7B85D463}" srcOrd="1" destOrd="0" presId="urn:microsoft.com/office/officeart/2018/2/layout/IconVerticalSolidList"/>
    <dgm:cxn modelId="{7C152E0A-E7D1-4086-BBE2-5F48174AA730}" type="presParOf" srcId="{53099705-1651-4EDC-9B66-AADB5FC50639}" destId="{494621E8-A4FC-4F1C-B607-70A4062B3CFE}" srcOrd="2" destOrd="0" presId="urn:microsoft.com/office/officeart/2018/2/layout/IconVerticalSolidList"/>
    <dgm:cxn modelId="{DAF83AC4-F137-4B82-91A2-5A5EDDE5B401}" type="presParOf" srcId="{53099705-1651-4EDC-9B66-AADB5FC50639}" destId="{BD1D0594-DA3E-490E-9F74-9ACAFDAE1994}" srcOrd="3" destOrd="0" presId="urn:microsoft.com/office/officeart/2018/2/layout/IconVerticalSolidList"/>
    <dgm:cxn modelId="{27187511-1D90-4CD9-8FB4-B16C87B01603}" type="presParOf" srcId="{1DC2FB38-095D-4864-94CD-90F438DE6F45}" destId="{E2FECCB9-FBB5-40FB-8C31-6A0862C10363}" srcOrd="1" destOrd="0" presId="urn:microsoft.com/office/officeart/2018/2/layout/IconVerticalSolidList"/>
    <dgm:cxn modelId="{D3DA422B-6F2A-412E-990A-7B0BC91DA9A9}" type="presParOf" srcId="{1DC2FB38-095D-4864-94CD-90F438DE6F45}" destId="{127AABF5-81FE-4545-AE5E-F2A0F410FF48}" srcOrd="2" destOrd="0" presId="urn:microsoft.com/office/officeart/2018/2/layout/IconVerticalSolidList"/>
    <dgm:cxn modelId="{C0658F3F-5C2E-4D15-AB6E-944C12FCC332}" type="presParOf" srcId="{127AABF5-81FE-4545-AE5E-F2A0F410FF48}" destId="{1C24E1F1-0ADA-41E2-934E-E479970D59B8}" srcOrd="0" destOrd="0" presId="urn:microsoft.com/office/officeart/2018/2/layout/IconVerticalSolidList"/>
    <dgm:cxn modelId="{DB9DFF3E-788F-4608-8124-6DD3B572F929}" type="presParOf" srcId="{127AABF5-81FE-4545-AE5E-F2A0F410FF48}" destId="{52D49111-2950-4B3C-A4A6-8E22E5D711F6}" srcOrd="1" destOrd="0" presId="urn:microsoft.com/office/officeart/2018/2/layout/IconVerticalSolidList"/>
    <dgm:cxn modelId="{E5528882-352E-4193-82A0-CEDB04F42580}" type="presParOf" srcId="{127AABF5-81FE-4545-AE5E-F2A0F410FF48}" destId="{9FA5F905-B6DD-4819-B1F3-5170A877EDE0}" srcOrd="2" destOrd="0" presId="urn:microsoft.com/office/officeart/2018/2/layout/IconVerticalSolidList"/>
    <dgm:cxn modelId="{817E6C00-55E2-411F-88DE-96C1BC2CF0C5}" type="presParOf" srcId="{127AABF5-81FE-4545-AE5E-F2A0F410FF48}" destId="{5E35E90A-64D2-4236-9CD9-BDC39FC264E2}" srcOrd="3" destOrd="0" presId="urn:microsoft.com/office/officeart/2018/2/layout/IconVerticalSolidList"/>
    <dgm:cxn modelId="{8C1E0F23-A385-4312-9785-0583DAACBBBD}" type="presParOf" srcId="{1DC2FB38-095D-4864-94CD-90F438DE6F45}" destId="{BD0A30EE-6369-42B5-9BBE-2EB6C12C5049}" srcOrd="3" destOrd="0" presId="urn:microsoft.com/office/officeart/2018/2/layout/IconVerticalSolidList"/>
    <dgm:cxn modelId="{EE280AC6-BB7E-49F6-AC5D-3419BA54AE66}" type="presParOf" srcId="{1DC2FB38-095D-4864-94CD-90F438DE6F45}" destId="{C08F73B2-0520-4FE4-A396-A22E3C331B3C}" srcOrd="4" destOrd="0" presId="urn:microsoft.com/office/officeart/2018/2/layout/IconVerticalSolidList"/>
    <dgm:cxn modelId="{AABD488C-5407-4D79-9511-CE54C3C8F3AB}" type="presParOf" srcId="{C08F73B2-0520-4FE4-A396-A22E3C331B3C}" destId="{4D1D9634-82A8-4A85-822B-33676D7BB250}" srcOrd="0" destOrd="0" presId="urn:microsoft.com/office/officeart/2018/2/layout/IconVerticalSolidList"/>
    <dgm:cxn modelId="{D5541A8D-7A2D-48D2-BBB7-1FE546ED2DB6}" type="presParOf" srcId="{C08F73B2-0520-4FE4-A396-A22E3C331B3C}" destId="{C61F6686-1855-43E5-8F49-095CCCBAFABA}" srcOrd="1" destOrd="0" presId="urn:microsoft.com/office/officeart/2018/2/layout/IconVerticalSolidList"/>
    <dgm:cxn modelId="{77EBF016-E338-44E5-8073-F39E73B927F4}" type="presParOf" srcId="{C08F73B2-0520-4FE4-A396-A22E3C331B3C}" destId="{6885792E-826D-4908-9132-D27C26032E6C}" srcOrd="2" destOrd="0" presId="urn:microsoft.com/office/officeart/2018/2/layout/IconVerticalSolidList"/>
    <dgm:cxn modelId="{1F6F5BBA-C9EE-460F-84E1-0859A2B39397}" type="presParOf" srcId="{C08F73B2-0520-4FE4-A396-A22E3C331B3C}" destId="{BB3EDBB2-F198-407C-A4F2-6FA228DBC1FF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37698432-2AF1-499A-84E0-0F2B8BDBAC64}" type="doc">
      <dgm:prSet loTypeId="urn:microsoft.com/office/officeart/2005/8/layout/hierarchy1" loCatId="hierarchy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F974367-D518-4A18-AB13-1BAEAAB8B63F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- Requirements Gathering</a:t>
          </a:r>
        </a:p>
      </dgm:t>
    </dgm:pt>
    <dgm:pt modelId="{EEF3CFAC-61F8-48E8-919F-04E5F83D32F0}" type="parTrans" cxnId="{3F333622-F38A-4163-B25A-0719E5B89B86}">
      <dgm:prSet/>
      <dgm:spPr/>
      <dgm:t>
        <a:bodyPr/>
        <a:lstStyle/>
        <a:p>
          <a:endParaRPr lang="en-US"/>
        </a:p>
      </dgm:t>
    </dgm:pt>
    <dgm:pt modelId="{795043F5-8FB1-4CF5-9A75-A51B9E235C98}" type="sibTrans" cxnId="{3F333622-F38A-4163-B25A-0719E5B89B86}">
      <dgm:prSet/>
      <dgm:spPr/>
      <dgm:t>
        <a:bodyPr/>
        <a:lstStyle/>
        <a:p>
          <a:endParaRPr lang="en-US"/>
        </a:p>
      </dgm:t>
    </dgm:pt>
    <dgm:pt modelId="{B7F4BE18-3CF1-4E2C-9519-CD0BD85BB385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- Platform Design</a:t>
          </a:r>
        </a:p>
      </dgm:t>
    </dgm:pt>
    <dgm:pt modelId="{3C3FF42C-B509-408B-93E7-82699ED1B38F}" type="parTrans" cxnId="{4E9D9C4C-6AB7-43AC-A69E-26847D806D55}">
      <dgm:prSet/>
      <dgm:spPr/>
      <dgm:t>
        <a:bodyPr/>
        <a:lstStyle/>
        <a:p>
          <a:endParaRPr lang="en-US"/>
        </a:p>
      </dgm:t>
    </dgm:pt>
    <dgm:pt modelId="{399672F1-74C7-4760-BB00-15C1DFCD747F}" type="sibTrans" cxnId="{4E9D9C4C-6AB7-43AC-A69E-26847D806D55}">
      <dgm:prSet/>
      <dgm:spPr/>
      <dgm:t>
        <a:bodyPr/>
        <a:lstStyle/>
        <a:p>
          <a:endParaRPr lang="en-US"/>
        </a:p>
      </dgm:t>
    </dgm:pt>
    <dgm:pt modelId="{0DF56BC1-79C6-45E4-A0E9-4E045C418781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- Development Phase</a:t>
          </a:r>
        </a:p>
      </dgm:t>
    </dgm:pt>
    <dgm:pt modelId="{8E6388C3-5D32-41B4-AF81-762B910B3EEF}" type="parTrans" cxnId="{ADD8025E-3FA4-4BDC-9865-C7F2C0F8D3BB}">
      <dgm:prSet/>
      <dgm:spPr/>
      <dgm:t>
        <a:bodyPr/>
        <a:lstStyle/>
        <a:p>
          <a:endParaRPr lang="en-US"/>
        </a:p>
      </dgm:t>
    </dgm:pt>
    <dgm:pt modelId="{27BE4B45-219E-4159-81B5-CA5056A92281}" type="sibTrans" cxnId="{ADD8025E-3FA4-4BDC-9865-C7F2C0F8D3BB}">
      <dgm:prSet/>
      <dgm:spPr/>
      <dgm:t>
        <a:bodyPr/>
        <a:lstStyle/>
        <a:p>
          <a:endParaRPr lang="en-US"/>
        </a:p>
      </dgm:t>
    </dgm:pt>
    <dgm:pt modelId="{08B55C7C-ECA0-4782-9B21-D474D8F59EDD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/>
            <a:t>- Testing and Bug Fixing</a:t>
          </a:r>
        </a:p>
      </dgm:t>
    </dgm:pt>
    <dgm:pt modelId="{973324A8-A89B-45A1-9E47-0A91F05411A7}" type="parTrans" cxnId="{BF56D577-FBF9-4F0F-A338-AF9240E423CA}">
      <dgm:prSet/>
      <dgm:spPr/>
      <dgm:t>
        <a:bodyPr/>
        <a:lstStyle/>
        <a:p>
          <a:endParaRPr lang="en-US"/>
        </a:p>
      </dgm:t>
    </dgm:pt>
    <dgm:pt modelId="{C70948C0-FC50-442A-ABC1-7A98A7E91316}" type="sibTrans" cxnId="{BF56D577-FBF9-4F0F-A338-AF9240E423CA}">
      <dgm:prSet/>
      <dgm:spPr/>
      <dgm:t>
        <a:bodyPr/>
        <a:lstStyle/>
        <a:p>
          <a:endParaRPr lang="en-US"/>
        </a:p>
      </dgm:t>
    </dgm:pt>
    <dgm:pt modelId="{B8F8B197-7E61-4484-938E-8F15AD5E1960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- Deployment and Launch</a:t>
          </a:r>
        </a:p>
      </dgm:t>
    </dgm:pt>
    <dgm:pt modelId="{B679EE0A-6488-4DB5-BE7F-B9AFE28140BB}" type="parTrans" cxnId="{773C9009-47CE-484F-8788-80127412117F}">
      <dgm:prSet/>
      <dgm:spPr/>
      <dgm:t>
        <a:bodyPr/>
        <a:lstStyle/>
        <a:p>
          <a:endParaRPr lang="en-US"/>
        </a:p>
      </dgm:t>
    </dgm:pt>
    <dgm:pt modelId="{C83FD419-3709-430E-9C70-CDE59BE4D673}" type="sibTrans" cxnId="{773C9009-47CE-484F-8788-80127412117F}">
      <dgm:prSet/>
      <dgm:spPr/>
      <dgm:t>
        <a:bodyPr/>
        <a:lstStyle/>
        <a:p>
          <a:endParaRPr lang="en-US"/>
        </a:p>
      </dgm:t>
    </dgm:pt>
    <dgm:pt modelId="{B67D9CD2-C216-49B8-991C-2B2F9612CFB6}" type="pres">
      <dgm:prSet presAssocID="{37698432-2AF1-499A-84E0-0F2B8BDBAC64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9B4FA458-2D75-4A83-9A98-4D8845F3BCE7}" type="pres">
      <dgm:prSet presAssocID="{5F974367-D518-4A18-AB13-1BAEAAB8B63F}" presName="hierRoot1" presStyleCnt="0"/>
      <dgm:spPr/>
    </dgm:pt>
    <dgm:pt modelId="{003F1F1D-5E29-4846-A463-00D1D90644E8}" type="pres">
      <dgm:prSet presAssocID="{5F974367-D518-4A18-AB13-1BAEAAB8B63F}" presName="composite" presStyleCnt="0"/>
      <dgm:spPr/>
    </dgm:pt>
    <dgm:pt modelId="{3F66E31B-8454-4C64-9F94-0ABCD60983D2}" type="pres">
      <dgm:prSet presAssocID="{5F974367-D518-4A18-AB13-1BAEAAB8B63F}" presName="background" presStyleLbl="node0" presStyleIdx="0" presStyleCnt="5"/>
      <dgm:spPr/>
    </dgm:pt>
    <dgm:pt modelId="{CB90D037-D174-44A7-940D-52CCF4865651}" type="pres">
      <dgm:prSet presAssocID="{5F974367-D518-4A18-AB13-1BAEAAB8B63F}" presName="text" presStyleLbl="fgAcc0" presStyleIdx="0" presStyleCnt="5">
        <dgm:presLayoutVars>
          <dgm:chPref val="3"/>
        </dgm:presLayoutVars>
      </dgm:prSet>
      <dgm:spPr/>
    </dgm:pt>
    <dgm:pt modelId="{8292624A-E72A-4E64-A744-4DF60FA48182}" type="pres">
      <dgm:prSet presAssocID="{5F974367-D518-4A18-AB13-1BAEAAB8B63F}" presName="hierChild2" presStyleCnt="0"/>
      <dgm:spPr/>
    </dgm:pt>
    <dgm:pt modelId="{649A1FA8-0B4E-489F-A21A-0B819AE7651F}" type="pres">
      <dgm:prSet presAssocID="{B7F4BE18-3CF1-4E2C-9519-CD0BD85BB385}" presName="hierRoot1" presStyleCnt="0"/>
      <dgm:spPr/>
    </dgm:pt>
    <dgm:pt modelId="{8060ACC8-0629-4AD4-A104-9E0BF4B750EA}" type="pres">
      <dgm:prSet presAssocID="{B7F4BE18-3CF1-4E2C-9519-CD0BD85BB385}" presName="composite" presStyleCnt="0"/>
      <dgm:spPr/>
    </dgm:pt>
    <dgm:pt modelId="{08834876-33A5-4751-9A1A-2D79BDBBB300}" type="pres">
      <dgm:prSet presAssocID="{B7F4BE18-3CF1-4E2C-9519-CD0BD85BB385}" presName="background" presStyleLbl="node0" presStyleIdx="1" presStyleCnt="5"/>
      <dgm:spPr/>
    </dgm:pt>
    <dgm:pt modelId="{9FEE2FAD-CA3C-426B-B7AB-6C948931C5BD}" type="pres">
      <dgm:prSet presAssocID="{B7F4BE18-3CF1-4E2C-9519-CD0BD85BB385}" presName="text" presStyleLbl="fgAcc0" presStyleIdx="1" presStyleCnt="5">
        <dgm:presLayoutVars>
          <dgm:chPref val="3"/>
        </dgm:presLayoutVars>
      </dgm:prSet>
      <dgm:spPr/>
    </dgm:pt>
    <dgm:pt modelId="{E7B7720B-8620-4BCD-BCBA-ACF00F058490}" type="pres">
      <dgm:prSet presAssocID="{B7F4BE18-3CF1-4E2C-9519-CD0BD85BB385}" presName="hierChild2" presStyleCnt="0"/>
      <dgm:spPr/>
    </dgm:pt>
    <dgm:pt modelId="{854A2707-CC0C-4964-98B6-3F286FA0A405}" type="pres">
      <dgm:prSet presAssocID="{0DF56BC1-79C6-45E4-A0E9-4E045C418781}" presName="hierRoot1" presStyleCnt="0"/>
      <dgm:spPr/>
    </dgm:pt>
    <dgm:pt modelId="{E855A3C3-AF6B-4B6E-999B-57BFEB5DCDAC}" type="pres">
      <dgm:prSet presAssocID="{0DF56BC1-79C6-45E4-A0E9-4E045C418781}" presName="composite" presStyleCnt="0"/>
      <dgm:spPr/>
    </dgm:pt>
    <dgm:pt modelId="{259147FF-D16D-4792-B042-95C9DA20D31D}" type="pres">
      <dgm:prSet presAssocID="{0DF56BC1-79C6-45E4-A0E9-4E045C418781}" presName="background" presStyleLbl="node0" presStyleIdx="2" presStyleCnt="5"/>
      <dgm:spPr/>
    </dgm:pt>
    <dgm:pt modelId="{3068FFEA-68E4-4415-9ECF-AC4A31AE1B94}" type="pres">
      <dgm:prSet presAssocID="{0DF56BC1-79C6-45E4-A0E9-4E045C418781}" presName="text" presStyleLbl="fgAcc0" presStyleIdx="2" presStyleCnt="5">
        <dgm:presLayoutVars>
          <dgm:chPref val="3"/>
        </dgm:presLayoutVars>
      </dgm:prSet>
      <dgm:spPr/>
    </dgm:pt>
    <dgm:pt modelId="{B978CD6D-A53E-4436-86CB-946729D86899}" type="pres">
      <dgm:prSet presAssocID="{0DF56BC1-79C6-45E4-A0E9-4E045C418781}" presName="hierChild2" presStyleCnt="0"/>
      <dgm:spPr/>
    </dgm:pt>
    <dgm:pt modelId="{A75CDB37-1FB9-48B3-BB80-F7B1D967B9DC}" type="pres">
      <dgm:prSet presAssocID="{08B55C7C-ECA0-4782-9B21-D474D8F59EDD}" presName="hierRoot1" presStyleCnt="0"/>
      <dgm:spPr/>
    </dgm:pt>
    <dgm:pt modelId="{939D0C58-7C13-42B0-A00B-7D9D8E5C9811}" type="pres">
      <dgm:prSet presAssocID="{08B55C7C-ECA0-4782-9B21-D474D8F59EDD}" presName="composite" presStyleCnt="0"/>
      <dgm:spPr/>
    </dgm:pt>
    <dgm:pt modelId="{8C18F8F5-CDBE-4A23-B281-363FA5A90D7A}" type="pres">
      <dgm:prSet presAssocID="{08B55C7C-ECA0-4782-9B21-D474D8F59EDD}" presName="background" presStyleLbl="node0" presStyleIdx="3" presStyleCnt="5"/>
      <dgm:spPr/>
    </dgm:pt>
    <dgm:pt modelId="{B9E75D9A-696E-4B08-A604-2AC7A9C4EF47}" type="pres">
      <dgm:prSet presAssocID="{08B55C7C-ECA0-4782-9B21-D474D8F59EDD}" presName="text" presStyleLbl="fgAcc0" presStyleIdx="3" presStyleCnt="5">
        <dgm:presLayoutVars>
          <dgm:chPref val="3"/>
        </dgm:presLayoutVars>
      </dgm:prSet>
      <dgm:spPr/>
    </dgm:pt>
    <dgm:pt modelId="{1CA83D03-362A-4756-AA98-63BF93BD282E}" type="pres">
      <dgm:prSet presAssocID="{08B55C7C-ECA0-4782-9B21-D474D8F59EDD}" presName="hierChild2" presStyleCnt="0"/>
      <dgm:spPr/>
    </dgm:pt>
    <dgm:pt modelId="{F594B284-A0F7-44E0-92B2-F92A0E3BB786}" type="pres">
      <dgm:prSet presAssocID="{B8F8B197-7E61-4484-938E-8F15AD5E1960}" presName="hierRoot1" presStyleCnt="0"/>
      <dgm:spPr/>
    </dgm:pt>
    <dgm:pt modelId="{41E8D180-46A3-46F5-9352-4461855F0972}" type="pres">
      <dgm:prSet presAssocID="{B8F8B197-7E61-4484-938E-8F15AD5E1960}" presName="composite" presStyleCnt="0"/>
      <dgm:spPr/>
    </dgm:pt>
    <dgm:pt modelId="{B9DE12B4-A484-48C6-A642-8011C7A7ACBA}" type="pres">
      <dgm:prSet presAssocID="{B8F8B197-7E61-4484-938E-8F15AD5E1960}" presName="background" presStyleLbl="node0" presStyleIdx="4" presStyleCnt="5"/>
      <dgm:spPr/>
    </dgm:pt>
    <dgm:pt modelId="{B1720148-6788-4092-9EBE-3CEECB738720}" type="pres">
      <dgm:prSet presAssocID="{B8F8B197-7E61-4484-938E-8F15AD5E1960}" presName="text" presStyleLbl="fgAcc0" presStyleIdx="4" presStyleCnt="5">
        <dgm:presLayoutVars>
          <dgm:chPref val="3"/>
        </dgm:presLayoutVars>
      </dgm:prSet>
      <dgm:spPr/>
    </dgm:pt>
    <dgm:pt modelId="{3C4A8A72-8CC2-40F4-A9A9-D9BBE900E014}" type="pres">
      <dgm:prSet presAssocID="{B8F8B197-7E61-4484-938E-8F15AD5E1960}" presName="hierChild2" presStyleCnt="0"/>
      <dgm:spPr/>
    </dgm:pt>
  </dgm:ptLst>
  <dgm:cxnLst>
    <dgm:cxn modelId="{773C9009-47CE-484F-8788-80127412117F}" srcId="{37698432-2AF1-499A-84E0-0F2B8BDBAC64}" destId="{B8F8B197-7E61-4484-938E-8F15AD5E1960}" srcOrd="4" destOrd="0" parTransId="{B679EE0A-6488-4DB5-BE7F-B9AFE28140BB}" sibTransId="{C83FD419-3709-430E-9C70-CDE59BE4D673}"/>
    <dgm:cxn modelId="{3F333622-F38A-4163-B25A-0719E5B89B86}" srcId="{37698432-2AF1-499A-84E0-0F2B8BDBAC64}" destId="{5F974367-D518-4A18-AB13-1BAEAAB8B63F}" srcOrd="0" destOrd="0" parTransId="{EEF3CFAC-61F8-48E8-919F-04E5F83D32F0}" sibTransId="{795043F5-8FB1-4CF5-9A75-A51B9E235C98}"/>
    <dgm:cxn modelId="{ADD8025E-3FA4-4BDC-9865-C7F2C0F8D3BB}" srcId="{37698432-2AF1-499A-84E0-0F2B8BDBAC64}" destId="{0DF56BC1-79C6-45E4-A0E9-4E045C418781}" srcOrd="2" destOrd="0" parTransId="{8E6388C3-5D32-41B4-AF81-762B910B3EEF}" sibTransId="{27BE4B45-219E-4159-81B5-CA5056A92281}"/>
    <dgm:cxn modelId="{4E9D9C4C-6AB7-43AC-A69E-26847D806D55}" srcId="{37698432-2AF1-499A-84E0-0F2B8BDBAC64}" destId="{B7F4BE18-3CF1-4E2C-9519-CD0BD85BB385}" srcOrd="1" destOrd="0" parTransId="{3C3FF42C-B509-408B-93E7-82699ED1B38F}" sibTransId="{399672F1-74C7-4760-BB00-15C1DFCD747F}"/>
    <dgm:cxn modelId="{5974046D-4FDE-4905-8C21-E938F9B1DF91}" type="presOf" srcId="{5F974367-D518-4A18-AB13-1BAEAAB8B63F}" destId="{CB90D037-D174-44A7-940D-52CCF4865651}" srcOrd="0" destOrd="0" presId="urn:microsoft.com/office/officeart/2005/8/layout/hierarchy1"/>
    <dgm:cxn modelId="{506B7B4F-B7F3-441D-8EBF-7591BBF81CFA}" type="presOf" srcId="{B8F8B197-7E61-4484-938E-8F15AD5E1960}" destId="{B1720148-6788-4092-9EBE-3CEECB738720}" srcOrd="0" destOrd="0" presId="urn:microsoft.com/office/officeart/2005/8/layout/hierarchy1"/>
    <dgm:cxn modelId="{06818474-F91D-4979-9A9C-FD926AF52564}" type="presOf" srcId="{0DF56BC1-79C6-45E4-A0E9-4E045C418781}" destId="{3068FFEA-68E4-4415-9ECF-AC4A31AE1B94}" srcOrd="0" destOrd="0" presId="urn:microsoft.com/office/officeart/2005/8/layout/hierarchy1"/>
    <dgm:cxn modelId="{BF56D577-FBF9-4F0F-A338-AF9240E423CA}" srcId="{37698432-2AF1-499A-84E0-0F2B8BDBAC64}" destId="{08B55C7C-ECA0-4782-9B21-D474D8F59EDD}" srcOrd="3" destOrd="0" parTransId="{973324A8-A89B-45A1-9E47-0A91F05411A7}" sibTransId="{C70948C0-FC50-442A-ABC1-7A98A7E91316}"/>
    <dgm:cxn modelId="{39DD5C98-3455-4021-B5AA-E114F2CC9110}" type="presOf" srcId="{B7F4BE18-3CF1-4E2C-9519-CD0BD85BB385}" destId="{9FEE2FAD-CA3C-426B-B7AB-6C948931C5BD}" srcOrd="0" destOrd="0" presId="urn:microsoft.com/office/officeart/2005/8/layout/hierarchy1"/>
    <dgm:cxn modelId="{57A46CC2-0477-4673-9A7E-6452A8E6E50A}" type="presOf" srcId="{08B55C7C-ECA0-4782-9B21-D474D8F59EDD}" destId="{B9E75D9A-696E-4B08-A604-2AC7A9C4EF47}" srcOrd="0" destOrd="0" presId="urn:microsoft.com/office/officeart/2005/8/layout/hierarchy1"/>
    <dgm:cxn modelId="{D8072BE0-E617-41AF-8889-F84C806B17FD}" type="presOf" srcId="{37698432-2AF1-499A-84E0-0F2B8BDBAC64}" destId="{B67D9CD2-C216-49B8-991C-2B2F9612CFB6}" srcOrd="0" destOrd="0" presId="urn:microsoft.com/office/officeart/2005/8/layout/hierarchy1"/>
    <dgm:cxn modelId="{44096895-297B-4812-8A2B-A49471C91F52}" type="presParOf" srcId="{B67D9CD2-C216-49B8-991C-2B2F9612CFB6}" destId="{9B4FA458-2D75-4A83-9A98-4D8845F3BCE7}" srcOrd="0" destOrd="0" presId="urn:microsoft.com/office/officeart/2005/8/layout/hierarchy1"/>
    <dgm:cxn modelId="{EEE2E3B5-EC93-4567-B362-3BDC1B154FA1}" type="presParOf" srcId="{9B4FA458-2D75-4A83-9A98-4D8845F3BCE7}" destId="{003F1F1D-5E29-4846-A463-00D1D90644E8}" srcOrd="0" destOrd="0" presId="urn:microsoft.com/office/officeart/2005/8/layout/hierarchy1"/>
    <dgm:cxn modelId="{74542D45-E962-4611-A96B-DFDDE6CDF8B1}" type="presParOf" srcId="{003F1F1D-5E29-4846-A463-00D1D90644E8}" destId="{3F66E31B-8454-4C64-9F94-0ABCD60983D2}" srcOrd="0" destOrd="0" presId="urn:microsoft.com/office/officeart/2005/8/layout/hierarchy1"/>
    <dgm:cxn modelId="{A6C70E1B-B2AE-4E24-9C52-E995B1224D64}" type="presParOf" srcId="{003F1F1D-5E29-4846-A463-00D1D90644E8}" destId="{CB90D037-D174-44A7-940D-52CCF4865651}" srcOrd="1" destOrd="0" presId="urn:microsoft.com/office/officeart/2005/8/layout/hierarchy1"/>
    <dgm:cxn modelId="{2E649DBA-EC85-45B8-B72D-696CAE8B6099}" type="presParOf" srcId="{9B4FA458-2D75-4A83-9A98-4D8845F3BCE7}" destId="{8292624A-E72A-4E64-A744-4DF60FA48182}" srcOrd="1" destOrd="0" presId="urn:microsoft.com/office/officeart/2005/8/layout/hierarchy1"/>
    <dgm:cxn modelId="{FEBAAEDB-92B8-4138-98E5-4C010C63F6C9}" type="presParOf" srcId="{B67D9CD2-C216-49B8-991C-2B2F9612CFB6}" destId="{649A1FA8-0B4E-489F-A21A-0B819AE7651F}" srcOrd="1" destOrd="0" presId="urn:microsoft.com/office/officeart/2005/8/layout/hierarchy1"/>
    <dgm:cxn modelId="{19F35393-E643-415E-9E84-F7A2458901B0}" type="presParOf" srcId="{649A1FA8-0B4E-489F-A21A-0B819AE7651F}" destId="{8060ACC8-0629-4AD4-A104-9E0BF4B750EA}" srcOrd="0" destOrd="0" presId="urn:microsoft.com/office/officeart/2005/8/layout/hierarchy1"/>
    <dgm:cxn modelId="{33D16717-BFB7-4413-8CB1-BAF7E404ED59}" type="presParOf" srcId="{8060ACC8-0629-4AD4-A104-9E0BF4B750EA}" destId="{08834876-33A5-4751-9A1A-2D79BDBBB300}" srcOrd="0" destOrd="0" presId="urn:microsoft.com/office/officeart/2005/8/layout/hierarchy1"/>
    <dgm:cxn modelId="{88BF82B9-06ED-44CC-B284-E3E66C39B5DC}" type="presParOf" srcId="{8060ACC8-0629-4AD4-A104-9E0BF4B750EA}" destId="{9FEE2FAD-CA3C-426B-B7AB-6C948931C5BD}" srcOrd="1" destOrd="0" presId="urn:microsoft.com/office/officeart/2005/8/layout/hierarchy1"/>
    <dgm:cxn modelId="{E46E0537-ABF1-4C3A-B3B3-4347297F8FF3}" type="presParOf" srcId="{649A1FA8-0B4E-489F-A21A-0B819AE7651F}" destId="{E7B7720B-8620-4BCD-BCBA-ACF00F058490}" srcOrd="1" destOrd="0" presId="urn:microsoft.com/office/officeart/2005/8/layout/hierarchy1"/>
    <dgm:cxn modelId="{B4A6D4CB-014F-4B0C-9BCB-FCD52D88BCF3}" type="presParOf" srcId="{B67D9CD2-C216-49B8-991C-2B2F9612CFB6}" destId="{854A2707-CC0C-4964-98B6-3F286FA0A405}" srcOrd="2" destOrd="0" presId="urn:microsoft.com/office/officeart/2005/8/layout/hierarchy1"/>
    <dgm:cxn modelId="{09CA5781-17FB-4433-B8F1-992004A64FC8}" type="presParOf" srcId="{854A2707-CC0C-4964-98B6-3F286FA0A405}" destId="{E855A3C3-AF6B-4B6E-999B-57BFEB5DCDAC}" srcOrd="0" destOrd="0" presId="urn:microsoft.com/office/officeart/2005/8/layout/hierarchy1"/>
    <dgm:cxn modelId="{DF627F10-01AE-4F12-A61C-745ADC4D4E02}" type="presParOf" srcId="{E855A3C3-AF6B-4B6E-999B-57BFEB5DCDAC}" destId="{259147FF-D16D-4792-B042-95C9DA20D31D}" srcOrd="0" destOrd="0" presId="urn:microsoft.com/office/officeart/2005/8/layout/hierarchy1"/>
    <dgm:cxn modelId="{1368614A-D98A-463C-A25B-26F5A97C3A33}" type="presParOf" srcId="{E855A3C3-AF6B-4B6E-999B-57BFEB5DCDAC}" destId="{3068FFEA-68E4-4415-9ECF-AC4A31AE1B94}" srcOrd="1" destOrd="0" presId="urn:microsoft.com/office/officeart/2005/8/layout/hierarchy1"/>
    <dgm:cxn modelId="{E0D85008-A38A-4F1E-8808-1FF2332F587A}" type="presParOf" srcId="{854A2707-CC0C-4964-98B6-3F286FA0A405}" destId="{B978CD6D-A53E-4436-86CB-946729D86899}" srcOrd="1" destOrd="0" presId="urn:microsoft.com/office/officeart/2005/8/layout/hierarchy1"/>
    <dgm:cxn modelId="{93E0D18E-D0B2-473E-B0EA-93E3D76A8BD1}" type="presParOf" srcId="{B67D9CD2-C216-49B8-991C-2B2F9612CFB6}" destId="{A75CDB37-1FB9-48B3-BB80-F7B1D967B9DC}" srcOrd="3" destOrd="0" presId="urn:microsoft.com/office/officeart/2005/8/layout/hierarchy1"/>
    <dgm:cxn modelId="{C0D98D8E-49E2-4213-8A47-D9A7321F9DC2}" type="presParOf" srcId="{A75CDB37-1FB9-48B3-BB80-F7B1D967B9DC}" destId="{939D0C58-7C13-42B0-A00B-7D9D8E5C9811}" srcOrd="0" destOrd="0" presId="urn:microsoft.com/office/officeart/2005/8/layout/hierarchy1"/>
    <dgm:cxn modelId="{CDEDBFEE-2A38-491F-A720-BD0F1650D117}" type="presParOf" srcId="{939D0C58-7C13-42B0-A00B-7D9D8E5C9811}" destId="{8C18F8F5-CDBE-4A23-B281-363FA5A90D7A}" srcOrd="0" destOrd="0" presId="urn:microsoft.com/office/officeart/2005/8/layout/hierarchy1"/>
    <dgm:cxn modelId="{147470E3-8B30-49D5-AF9B-F4B6CD2CE283}" type="presParOf" srcId="{939D0C58-7C13-42B0-A00B-7D9D8E5C9811}" destId="{B9E75D9A-696E-4B08-A604-2AC7A9C4EF47}" srcOrd="1" destOrd="0" presId="urn:microsoft.com/office/officeart/2005/8/layout/hierarchy1"/>
    <dgm:cxn modelId="{93E99392-D6DD-4DA6-A506-94C63394204B}" type="presParOf" srcId="{A75CDB37-1FB9-48B3-BB80-F7B1D967B9DC}" destId="{1CA83D03-362A-4756-AA98-63BF93BD282E}" srcOrd="1" destOrd="0" presId="urn:microsoft.com/office/officeart/2005/8/layout/hierarchy1"/>
    <dgm:cxn modelId="{48010489-91F3-43CF-A4E2-1C9552666830}" type="presParOf" srcId="{B67D9CD2-C216-49B8-991C-2B2F9612CFB6}" destId="{F594B284-A0F7-44E0-92B2-F92A0E3BB786}" srcOrd="4" destOrd="0" presId="urn:microsoft.com/office/officeart/2005/8/layout/hierarchy1"/>
    <dgm:cxn modelId="{0DEC8131-F42C-4CF8-9968-C45092E2E4E4}" type="presParOf" srcId="{F594B284-A0F7-44E0-92B2-F92A0E3BB786}" destId="{41E8D180-46A3-46F5-9352-4461855F0972}" srcOrd="0" destOrd="0" presId="urn:microsoft.com/office/officeart/2005/8/layout/hierarchy1"/>
    <dgm:cxn modelId="{18C01ABD-0C0D-4992-B98E-B2B041C79E0F}" type="presParOf" srcId="{41E8D180-46A3-46F5-9352-4461855F0972}" destId="{B9DE12B4-A484-48C6-A642-8011C7A7ACBA}" srcOrd="0" destOrd="0" presId="urn:microsoft.com/office/officeart/2005/8/layout/hierarchy1"/>
    <dgm:cxn modelId="{E92D5F26-E88A-4EED-A8B0-224620D24002}" type="presParOf" srcId="{41E8D180-46A3-46F5-9352-4461855F0972}" destId="{B1720148-6788-4092-9EBE-3CEECB738720}" srcOrd="1" destOrd="0" presId="urn:microsoft.com/office/officeart/2005/8/layout/hierarchy1"/>
    <dgm:cxn modelId="{7C9A953C-CFD0-4971-804A-699C22EC1E51}" type="presParOf" srcId="{F594B284-A0F7-44E0-92B2-F92A0E3BB786}" destId="{3C4A8A72-8CC2-40F4-A9A9-D9BBE900E014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9B841252-E28E-4A9C-A030-C31B8C582A68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2215AEC-73F2-488B-9AD0-1EFF24C9E435}">
      <dgm:prSet/>
      <dgm:spPr/>
      <dgm:t>
        <a:bodyPr/>
        <a:lstStyle/>
        <a:p>
          <a:r>
            <a:rPr lang="en-US"/>
            <a:t>Summary:</a:t>
          </a:r>
        </a:p>
      </dgm:t>
    </dgm:pt>
    <dgm:pt modelId="{6916B1EF-272B-41B6-ADEC-EE1A80E803FD}" type="parTrans" cxnId="{06749C69-BE61-4437-AE92-5C786CB036B1}">
      <dgm:prSet/>
      <dgm:spPr/>
      <dgm:t>
        <a:bodyPr/>
        <a:lstStyle/>
        <a:p>
          <a:endParaRPr lang="en-US"/>
        </a:p>
      </dgm:t>
    </dgm:pt>
    <dgm:pt modelId="{48BC7690-92BA-4B8F-AE82-6EEE262B1897}" type="sibTrans" cxnId="{06749C69-BE61-4437-AE92-5C786CB036B1}">
      <dgm:prSet/>
      <dgm:spPr/>
      <dgm:t>
        <a:bodyPr/>
        <a:lstStyle/>
        <a:p>
          <a:endParaRPr lang="en-US"/>
        </a:p>
      </dgm:t>
    </dgm:pt>
    <dgm:pt modelId="{5F82E7E7-C57B-42CD-A3D8-90797906FF81}">
      <dgm:prSet/>
      <dgm:spPr/>
      <dgm:t>
        <a:bodyPr/>
        <a:lstStyle/>
        <a:p>
          <a:r>
            <a:rPr lang="en-US"/>
            <a:t>The ZF Sportify platform simplifies tournament management by providing a one-stop solution.</a:t>
          </a:r>
        </a:p>
      </dgm:t>
    </dgm:pt>
    <dgm:pt modelId="{6CF7601B-2247-489B-AC6C-5024E71A296F}" type="parTrans" cxnId="{0BE30030-6180-4F51-AB82-313F043F9793}">
      <dgm:prSet/>
      <dgm:spPr/>
      <dgm:t>
        <a:bodyPr/>
        <a:lstStyle/>
        <a:p>
          <a:endParaRPr lang="en-US"/>
        </a:p>
      </dgm:t>
    </dgm:pt>
    <dgm:pt modelId="{80C9889A-5FE1-4386-84F5-EAA4841F5EC3}" type="sibTrans" cxnId="{0BE30030-6180-4F51-AB82-313F043F9793}">
      <dgm:prSet/>
      <dgm:spPr/>
      <dgm:t>
        <a:bodyPr/>
        <a:lstStyle/>
        <a:p>
          <a:endParaRPr lang="en-US"/>
        </a:p>
      </dgm:t>
    </dgm:pt>
    <dgm:pt modelId="{000DD12C-1577-49B1-96C2-40EABB543957}">
      <dgm:prSet/>
      <dgm:spPr/>
      <dgm:t>
        <a:bodyPr/>
        <a:lstStyle/>
        <a:p>
          <a:r>
            <a:rPr lang="en-US"/>
            <a:t>Next Steps:</a:t>
          </a:r>
        </a:p>
      </dgm:t>
    </dgm:pt>
    <dgm:pt modelId="{4C2BA01F-8699-4E35-B4CD-DD1A4568DF63}" type="parTrans" cxnId="{6AD55869-0495-41A2-B6F5-1EA22BF2BD52}">
      <dgm:prSet/>
      <dgm:spPr/>
      <dgm:t>
        <a:bodyPr/>
        <a:lstStyle/>
        <a:p>
          <a:endParaRPr lang="en-US"/>
        </a:p>
      </dgm:t>
    </dgm:pt>
    <dgm:pt modelId="{0E6309DF-684E-4347-A5CE-EBE153A3ECE2}" type="sibTrans" cxnId="{6AD55869-0495-41A2-B6F5-1EA22BF2BD52}">
      <dgm:prSet/>
      <dgm:spPr/>
      <dgm:t>
        <a:bodyPr/>
        <a:lstStyle/>
        <a:p>
          <a:endParaRPr lang="en-US"/>
        </a:p>
      </dgm:t>
    </dgm:pt>
    <dgm:pt modelId="{C5961421-C4D3-486E-B349-E9CE207405B3}">
      <dgm:prSet/>
      <dgm:spPr/>
      <dgm:t>
        <a:bodyPr/>
        <a:lstStyle/>
        <a:p>
          <a:r>
            <a:rPr lang="en-US"/>
            <a:t>- Further development for scalability.</a:t>
          </a:r>
        </a:p>
      </dgm:t>
    </dgm:pt>
    <dgm:pt modelId="{6E297F9E-E0BA-4A1F-A7C8-D3970DF16734}" type="parTrans" cxnId="{A9992F04-7FC3-452A-9413-2C10A34629A4}">
      <dgm:prSet/>
      <dgm:spPr/>
      <dgm:t>
        <a:bodyPr/>
        <a:lstStyle/>
        <a:p>
          <a:endParaRPr lang="en-US"/>
        </a:p>
      </dgm:t>
    </dgm:pt>
    <dgm:pt modelId="{A98EBA61-49E1-471F-A3F3-D2E33526952B}" type="sibTrans" cxnId="{A9992F04-7FC3-452A-9413-2C10A34629A4}">
      <dgm:prSet/>
      <dgm:spPr/>
      <dgm:t>
        <a:bodyPr/>
        <a:lstStyle/>
        <a:p>
          <a:endParaRPr lang="en-US"/>
        </a:p>
      </dgm:t>
    </dgm:pt>
    <dgm:pt modelId="{62345C5E-C2DF-4C2E-93B8-8CBB5E9F6715}">
      <dgm:prSet/>
      <dgm:spPr/>
      <dgm:t>
        <a:bodyPr/>
        <a:lstStyle/>
        <a:p>
          <a:r>
            <a:rPr lang="en-US"/>
            <a:t>- Plan for cloud hosting and broader deployment.</a:t>
          </a:r>
        </a:p>
      </dgm:t>
    </dgm:pt>
    <dgm:pt modelId="{C2B82E44-C286-4056-8CDA-15CDD9FF26B4}" type="parTrans" cxnId="{CFBB3C74-4AA2-4047-90ED-746552056CF2}">
      <dgm:prSet/>
      <dgm:spPr/>
      <dgm:t>
        <a:bodyPr/>
        <a:lstStyle/>
        <a:p>
          <a:endParaRPr lang="en-US"/>
        </a:p>
      </dgm:t>
    </dgm:pt>
    <dgm:pt modelId="{8ADE5E12-3BF1-428B-BED4-A29D38715EA7}" type="sibTrans" cxnId="{CFBB3C74-4AA2-4047-90ED-746552056CF2}">
      <dgm:prSet/>
      <dgm:spPr/>
      <dgm:t>
        <a:bodyPr/>
        <a:lstStyle/>
        <a:p>
          <a:endParaRPr lang="en-US"/>
        </a:p>
      </dgm:t>
    </dgm:pt>
    <dgm:pt modelId="{32AA409F-E2C8-45D9-ACF8-5F6F463B3B5A}" type="pres">
      <dgm:prSet presAssocID="{9B841252-E28E-4A9C-A030-C31B8C582A68}" presName="root" presStyleCnt="0">
        <dgm:presLayoutVars>
          <dgm:dir/>
          <dgm:resizeHandles val="exact"/>
        </dgm:presLayoutVars>
      </dgm:prSet>
      <dgm:spPr/>
    </dgm:pt>
    <dgm:pt modelId="{06C2F3D0-8AAB-4F3B-B110-E683BA9984B3}" type="pres">
      <dgm:prSet presAssocID="{82215AEC-73F2-488B-9AD0-1EFF24C9E435}" presName="compNode" presStyleCnt="0"/>
      <dgm:spPr/>
    </dgm:pt>
    <dgm:pt modelId="{F7100284-9DDA-46EE-8586-86C84D842F99}" type="pres">
      <dgm:prSet presAssocID="{82215AEC-73F2-488B-9AD0-1EFF24C9E435}" presName="bgRect" presStyleLbl="bgShp" presStyleIdx="0" presStyleCnt="5"/>
      <dgm:spPr/>
    </dgm:pt>
    <dgm:pt modelId="{A2B6523D-D0EC-4E66-B13F-138A0F2F76F6}" type="pres">
      <dgm:prSet presAssocID="{82215AEC-73F2-488B-9AD0-1EFF24C9E435}" presName="iconRect" presStyleLbl="node1" presStyleIdx="0" presStyleCnt="5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Star"/>
        </a:ext>
      </dgm:extLst>
    </dgm:pt>
    <dgm:pt modelId="{D394C27D-E4C0-4143-A11F-75E92157D4C7}" type="pres">
      <dgm:prSet presAssocID="{82215AEC-73F2-488B-9AD0-1EFF24C9E435}" presName="spaceRect" presStyleCnt="0"/>
      <dgm:spPr/>
    </dgm:pt>
    <dgm:pt modelId="{1EC4FB19-163D-4FE0-AA66-CC0117F6854B}" type="pres">
      <dgm:prSet presAssocID="{82215AEC-73F2-488B-9AD0-1EFF24C9E435}" presName="parTx" presStyleLbl="revTx" presStyleIdx="0" presStyleCnt="5">
        <dgm:presLayoutVars>
          <dgm:chMax val="0"/>
          <dgm:chPref val="0"/>
        </dgm:presLayoutVars>
      </dgm:prSet>
      <dgm:spPr/>
    </dgm:pt>
    <dgm:pt modelId="{F4C690CC-6E30-4BA6-994F-92676FCEC31D}" type="pres">
      <dgm:prSet presAssocID="{48BC7690-92BA-4B8F-AE82-6EEE262B1897}" presName="sibTrans" presStyleCnt="0"/>
      <dgm:spPr/>
    </dgm:pt>
    <dgm:pt modelId="{62053F38-6FE3-4C3D-AB95-22098EFFA956}" type="pres">
      <dgm:prSet presAssocID="{5F82E7E7-C57B-42CD-A3D8-90797906FF81}" presName="compNode" presStyleCnt="0"/>
      <dgm:spPr/>
    </dgm:pt>
    <dgm:pt modelId="{40968B80-FDFF-4C03-B376-F20078492C35}" type="pres">
      <dgm:prSet presAssocID="{5F82E7E7-C57B-42CD-A3D8-90797906FF81}" presName="bgRect" presStyleLbl="bgShp" presStyleIdx="1" presStyleCnt="5"/>
      <dgm:spPr/>
    </dgm:pt>
    <dgm:pt modelId="{540150EE-9D33-4E49-B288-F782DF843671}" type="pres">
      <dgm:prSet presAssocID="{5F82E7E7-C57B-42CD-A3D8-90797906FF81}" presName="iconRect" presStyleLbl="node1" presStyleIdx="1" presStyleCnt="5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ocument"/>
        </a:ext>
      </dgm:extLst>
    </dgm:pt>
    <dgm:pt modelId="{087952E5-17C0-4A70-B23B-CCB5803787DF}" type="pres">
      <dgm:prSet presAssocID="{5F82E7E7-C57B-42CD-A3D8-90797906FF81}" presName="spaceRect" presStyleCnt="0"/>
      <dgm:spPr/>
    </dgm:pt>
    <dgm:pt modelId="{8F564463-28FD-4B0D-BCD6-26A8581CC028}" type="pres">
      <dgm:prSet presAssocID="{5F82E7E7-C57B-42CD-A3D8-90797906FF81}" presName="parTx" presStyleLbl="revTx" presStyleIdx="1" presStyleCnt="5">
        <dgm:presLayoutVars>
          <dgm:chMax val="0"/>
          <dgm:chPref val="0"/>
        </dgm:presLayoutVars>
      </dgm:prSet>
      <dgm:spPr/>
    </dgm:pt>
    <dgm:pt modelId="{3CFBF42F-5FDE-4A09-BCA4-BBC3F6DAD85F}" type="pres">
      <dgm:prSet presAssocID="{80C9889A-5FE1-4386-84F5-EAA4841F5EC3}" presName="sibTrans" presStyleCnt="0"/>
      <dgm:spPr/>
    </dgm:pt>
    <dgm:pt modelId="{404957D3-AD4E-4B04-9877-EFB142F3C439}" type="pres">
      <dgm:prSet presAssocID="{000DD12C-1577-49B1-96C2-40EABB543957}" presName="compNode" presStyleCnt="0"/>
      <dgm:spPr/>
    </dgm:pt>
    <dgm:pt modelId="{8D13018F-4074-4A8D-8F4B-3F90F64A60CC}" type="pres">
      <dgm:prSet presAssocID="{000DD12C-1577-49B1-96C2-40EABB543957}" presName="bgRect" presStyleLbl="bgShp" presStyleIdx="2" presStyleCnt="5"/>
      <dgm:spPr/>
    </dgm:pt>
    <dgm:pt modelId="{2AA72178-37C3-495F-B40A-6D985D78E261}" type="pres">
      <dgm:prSet presAssocID="{000DD12C-1577-49B1-96C2-40EABB543957}" presName="iconRect" presStyleLbl="node1" presStyleIdx="2" presStyleCnt="5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Footprints"/>
        </a:ext>
      </dgm:extLst>
    </dgm:pt>
    <dgm:pt modelId="{C8D9E903-81CE-406E-A871-34A7998B99AB}" type="pres">
      <dgm:prSet presAssocID="{000DD12C-1577-49B1-96C2-40EABB543957}" presName="spaceRect" presStyleCnt="0"/>
      <dgm:spPr/>
    </dgm:pt>
    <dgm:pt modelId="{3E215D2D-A80F-4732-B7E4-18E88A725605}" type="pres">
      <dgm:prSet presAssocID="{000DD12C-1577-49B1-96C2-40EABB543957}" presName="parTx" presStyleLbl="revTx" presStyleIdx="2" presStyleCnt="5">
        <dgm:presLayoutVars>
          <dgm:chMax val="0"/>
          <dgm:chPref val="0"/>
        </dgm:presLayoutVars>
      </dgm:prSet>
      <dgm:spPr/>
    </dgm:pt>
    <dgm:pt modelId="{DE09F762-EDC9-40E5-BB83-74FECD3F649F}" type="pres">
      <dgm:prSet presAssocID="{0E6309DF-684E-4347-A5CE-EBE153A3ECE2}" presName="sibTrans" presStyleCnt="0"/>
      <dgm:spPr/>
    </dgm:pt>
    <dgm:pt modelId="{2171E0FE-8E9C-4F94-A064-4FA7293A329D}" type="pres">
      <dgm:prSet presAssocID="{C5961421-C4D3-486E-B349-E9CE207405B3}" presName="compNode" presStyleCnt="0"/>
      <dgm:spPr/>
    </dgm:pt>
    <dgm:pt modelId="{12FD2BBF-E85B-4F5D-B900-8E159CFB46CC}" type="pres">
      <dgm:prSet presAssocID="{C5961421-C4D3-486E-B349-E9CE207405B3}" presName="bgRect" presStyleLbl="bgShp" presStyleIdx="3" presStyleCnt="5"/>
      <dgm:spPr/>
    </dgm:pt>
    <dgm:pt modelId="{14D4628E-5507-40BD-86CA-382A92AED607}" type="pres">
      <dgm:prSet presAssocID="{C5961421-C4D3-486E-B349-E9CE207405B3}" presName="iconRect" presStyleLbl="node1" presStyleIdx="3" presStyleCnt="5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Processor"/>
        </a:ext>
      </dgm:extLst>
    </dgm:pt>
    <dgm:pt modelId="{B711F56E-5D6F-4136-B615-F6448B0CC8E6}" type="pres">
      <dgm:prSet presAssocID="{C5961421-C4D3-486E-B349-E9CE207405B3}" presName="spaceRect" presStyleCnt="0"/>
      <dgm:spPr/>
    </dgm:pt>
    <dgm:pt modelId="{A3D16F56-0516-4602-89E4-FFC891DA0588}" type="pres">
      <dgm:prSet presAssocID="{C5961421-C4D3-486E-B349-E9CE207405B3}" presName="parTx" presStyleLbl="revTx" presStyleIdx="3" presStyleCnt="5">
        <dgm:presLayoutVars>
          <dgm:chMax val="0"/>
          <dgm:chPref val="0"/>
        </dgm:presLayoutVars>
      </dgm:prSet>
      <dgm:spPr/>
    </dgm:pt>
    <dgm:pt modelId="{4F4F4414-596F-4B17-AB27-60978D12CB1A}" type="pres">
      <dgm:prSet presAssocID="{A98EBA61-49E1-471F-A3F3-D2E33526952B}" presName="sibTrans" presStyleCnt="0"/>
      <dgm:spPr/>
    </dgm:pt>
    <dgm:pt modelId="{E1302B3E-D9A9-43A7-BCC9-B95F74BD76EF}" type="pres">
      <dgm:prSet presAssocID="{62345C5E-C2DF-4C2E-93B8-8CBB5E9F6715}" presName="compNode" presStyleCnt="0"/>
      <dgm:spPr/>
    </dgm:pt>
    <dgm:pt modelId="{EE00E6CC-C6FD-4E49-A9F5-B2AC1BEBDE57}" type="pres">
      <dgm:prSet presAssocID="{62345C5E-C2DF-4C2E-93B8-8CBB5E9F6715}" presName="bgRect" presStyleLbl="bgShp" presStyleIdx="4" presStyleCnt="5"/>
      <dgm:spPr/>
    </dgm:pt>
    <dgm:pt modelId="{85A45FB8-7FFA-42E5-87F3-C302A492F6AA}" type="pres">
      <dgm:prSet presAssocID="{62345C5E-C2DF-4C2E-93B8-8CBB5E9F6715}" presName="iconRect" presStyleLbl="node1" presStyleIdx="4" presStyleCnt="5"/>
      <dgm:spPr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Syncing Cloud"/>
        </a:ext>
      </dgm:extLst>
    </dgm:pt>
    <dgm:pt modelId="{7B48E748-3A08-4FA2-AE77-1C35CAED03F5}" type="pres">
      <dgm:prSet presAssocID="{62345C5E-C2DF-4C2E-93B8-8CBB5E9F6715}" presName="spaceRect" presStyleCnt="0"/>
      <dgm:spPr/>
    </dgm:pt>
    <dgm:pt modelId="{701A6CC1-F719-4EC4-94AF-EEE0CDD2AC23}" type="pres">
      <dgm:prSet presAssocID="{62345C5E-C2DF-4C2E-93B8-8CBB5E9F6715}" presName="parTx" presStyleLbl="revTx" presStyleIdx="4" presStyleCnt="5">
        <dgm:presLayoutVars>
          <dgm:chMax val="0"/>
          <dgm:chPref val="0"/>
        </dgm:presLayoutVars>
      </dgm:prSet>
      <dgm:spPr/>
    </dgm:pt>
  </dgm:ptLst>
  <dgm:cxnLst>
    <dgm:cxn modelId="{A9992F04-7FC3-452A-9413-2C10A34629A4}" srcId="{9B841252-E28E-4A9C-A030-C31B8C582A68}" destId="{C5961421-C4D3-486E-B349-E9CE207405B3}" srcOrd="3" destOrd="0" parTransId="{6E297F9E-E0BA-4A1F-A7C8-D3970DF16734}" sibTransId="{A98EBA61-49E1-471F-A3F3-D2E33526952B}"/>
    <dgm:cxn modelId="{6D4E8215-DB15-4B85-9F4F-88B9E643375A}" type="presOf" srcId="{82215AEC-73F2-488B-9AD0-1EFF24C9E435}" destId="{1EC4FB19-163D-4FE0-AA66-CC0117F6854B}" srcOrd="0" destOrd="0" presId="urn:microsoft.com/office/officeart/2018/2/layout/IconVerticalSolidList"/>
    <dgm:cxn modelId="{F9B7E81F-EF21-4691-8D59-B775CEA27DEC}" type="presOf" srcId="{9B841252-E28E-4A9C-A030-C31B8C582A68}" destId="{32AA409F-E2C8-45D9-ACF8-5F6F463B3B5A}" srcOrd="0" destOrd="0" presId="urn:microsoft.com/office/officeart/2018/2/layout/IconVerticalSolidList"/>
    <dgm:cxn modelId="{8F49FD20-EBDD-4D1D-AE5B-0ACD487DAC3C}" type="presOf" srcId="{C5961421-C4D3-486E-B349-E9CE207405B3}" destId="{A3D16F56-0516-4602-89E4-FFC891DA0588}" srcOrd="0" destOrd="0" presId="urn:microsoft.com/office/officeart/2018/2/layout/IconVerticalSolidList"/>
    <dgm:cxn modelId="{0BE30030-6180-4F51-AB82-313F043F9793}" srcId="{9B841252-E28E-4A9C-A030-C31B8C582A68}" destId="{5F82E7E7-C57B-42CD-A3D8-90797906FF81}" srcOrd="1" destOrd="0" parTransId="{6CF7601B-2247-489B-AC6C-5024E71A296F}" sibTransId="{80C9889A-5FE1-4386-84F5-EAA4841F5EC3}"/>
    <dgm:cxn modelId="{19192C60-14C7-4F16-A770-D8146E56436C}" type="presOf" srcId="{62345C5E-C2DF-4C2E-93B8-8CBB5E9F6715}" destId="{701A6CC1-F719-4EC4-94AF-EEE0CDD2AC23}" srcOrd="0" destOrd="0" presId="urn:microsoft.com/office/officeart/2018/2/layout/IconVerticalSolidList"/>
    <dgm:cxn modelId="{6AD55869-0495-41A2-B6F5-1EA22BF2BD52}" srcId="{9B841252-E28E-4A9C-A030-C31B8C582A68}" destId="{000DD12C-1577-49B1-96C2-40EABB543957}" srcOrd="2" destOrd="0" parTransId="{4C2BA01F-8699-4E35-B4CD-DD1A4568DF63}" sibTransId="{0E6309DF-684E-4347-A5CE-EBE153A3ECE2}"/>
    <dgm:cxn modelId="{06749C69-BE61-4437-AE92-5C786CB036B1}" srcId="{9B841252-E28E-4A9C-A030-C31B8C582A68}" destId="{82215AEC-73F2-488B-9AD0-1EFF24C9E435}" srcOrd="0" destOrd="0" parTransId="{6916B1EF-272B-41B6-ADEC-EE1A80E803FD}" sibTransId="{48BC7690-92BA-4B8F-AE82-6EEE262B1897}"/>
    <dgm:cxn modelId="{CFBB3C74-4AA2-4047-90ED-746552056CF2}" srcId="{9B841252-E28E-4A9C-A030-C31B8C582A68}" destId="{62345C5E-C2DF-4C2E-93B8-8CBB5E9F6715}" srcOrd="4" destOrd="0" parTransId="{C2B82E44-C286-4056-8CDA-15CDD9FF26B4}" sibTransId="{8ADE5E12-3BF1-428B-BED4-A29D38715EA7}"/>
    <dgm:cxn modelId="{FFF43CDC-ADA9-4D8C-A136-ECF9A11259FD}" type="presOf" srcId="{000DD12C-1577-49B1-96C2-40EABB543957}" destId="{3E215D2D-A80F-4732-B7E4-18E88A725605}" srcOrd="0" destOrd="0" presId="urn:microsoft.com/office/officeart/2018/2/layout/IconVerticalSolidList"/>
    <dgm:cxn modelId="{C5B14EFF-C404-495B-ACA3-486CA192B070}" type="presOf" srcId="{5F82E7E7-C57B-42CD-A3D8-90797906FF81}" destId="{8F564463-28FD-4B0D-BCD6-26A8581CC028}" srcOrd="0" destOrd="0" presId="urn:microsoft.com/office/officeart/2018/2/layout/IconVerticalSolidList"/>
    <dgm:cxn modelId="{3053CF39-2A04-4360-B6F1-E30F37AC8324}" type="presParOf" srcId="{32AA409F-E2C8-45D9-ACF8-5F6F463B3B5A}" destId="{06C2F3D0-8AAB-4F3B-B110-E683BA9984B3}" srcOrd="0" destOrd="0" presId="urn:microsoft.com/office/officeart/2018/2/layout/IconVerticalSolidList"/>
    <dgm:cxn modelId="{6554CF3D-548F-4FF7-B3CD-E11A18843A38}" type="presParOf" srcId="{06C2F3D0-8AAB-4F3B-B110-E683BA9984B3}" destId="{F7100284-9DDA-46EE-8586-86C84D842F99}" srcOrd="0" destOrd="0" presId="urn:microsoft.com/office/officeart/2018/2/layout/IconVerticalSolidList"/>
    <dgm:cxn modelId="{FBF206B2-CEE9-41F9-9935-2CDCF0588589}" type="presParOf" srcId="{06C2F3D0-8AAB-4F3B-B110-E683BA9984B3}" destId="{A2B6523D-D0EC-4E66-B13F-138A0F2F76F6}" srcOrd="1" destOrd="0" presId="urn:microsoft.com/office/officeart/2018/2/layout/IconVerticalSolidList"/>
    <dgm:cxn modelId="{40397D2C-64B2-49A4-8AB1-2A587C87A2B2}" type="presParOf" srcId="{06C2F3D0-8AAB-4F3B-B110-E683BA9984B3}" destId="{D394C27D-E4C0-4143-A11F-75E92157D4C7}" srcOrd="2" destOrd="0" presId="urn:microsoft.com/office/officeart/2018/2/layout/IconVerticalSolidList"/>
    <dgm:cxn modelId="{457B94AF-472D-423C-8599-7ABB04871624}" type="presParOf" srcId="{06C2F3D0-8AAB-4F3B-B110-E683BA9984B3}" destId="{1EC4FB19-163D-4FE0-AA66-CC0117F6854B}" srcOrd="3" destOrd="0" presId="urn:microsoft.com/office/officeart/2018/2/layout/IconVerticalSolidList"/>
    <dgm:cxn modelId="{F08A35B7-6E1F-4A1A-A904-B7006973324F}" type="presParOf" srcId="{32AA409F-E2C8-45D9-ACF8-5F6F463B3B5A}" destId="{F4C690CC-6E30-4BA6-994F-92676FCEC31D}" srcOrd="1" destOrd="0" presId="urn:microsoft.com/office/officeart/2018/2/layout/IconVerticalSolidList"/>
    <dgm:cxn modelId="{8BD97EF5-6450-4702-849D-E9FD1A420867}" type="presParOf" srcId="{32AA409F-E2C8-45D9-ACF8-5F6F463B3B5A}" destId="{62053F38-6FE3-4C3D-AB95-22098EFFA956}" srcOrd="2" destOrd="0" presId="urn:microsoft.com/office/officeart/2018/2/layout/IconVerticalSolidList"/>
    <dgm:cxn modelId="{7CE5688E-863B-4B1C-A428-2C547C436FA3}" type="presParOf" srcId="{62053F38-6FE3-4C3D-AB95-22098EFFA956}" destId="{40968B80-FDFF-4C03-B376-F20078492C35}" srcOrd="0" destOrd="0" presId="urn:microsoft.com/office/officeart/2018/2/layout/IconVerticalSolidList"/>
    <dgm:cxn modelId="{8A46F796-8E51-4E71-B495-E757F62C3AA2}" type="presParOf" srcId="{62053F38-6FE3-4C3D-AB95-22098EFFA956}" destId="{540150EE-9D33-4E49-B288-F782DF843671}" srcOrd="1" destOrd="0" presId="urn:microsoft.com/office/officeart/2018/2/layout/IconVerticalSolidList"/>
    <dgm:cxn modelId="{AABFD865-7A1E-46B0-A49B-4E116CECB8FA}" type="presParOf" srcId="{62053F38-6FE3-4C3D-AB95-22098EFFA956}" destId="{087952E5-17C0-4A70-B23B-CCB5803787DF}" srcOrd="2" destOrd="0" presId="urn:microsoft.com/office/officeart/2018/2/layout/IconVerticalSolidList"/>
    <dgm:cxn modelId="{9720497A-5F06-49EB-8AB7-D00DF47CB8B4}" type="presParOf" srcId="{62053F38-6FE3-4C3D-AB95-22098EFFA956}" destId="{8F564463-28FD-4B0D-BCD6-26A8581CC028}" srcOrd="3" destOrd="0" presId="urn:microsoft.com/office/officeart/2018/2/layout/IconVerticalSolidList"/>
    <dgm:cxn modelId="{851C342F-C86A-4EFA-9AB3-4CF41E5C406F}" type="presParOf" srcId="{32AA409F-E2C8-45D9-ACF8-5F6F463B3B5A}" destId="{3CFBF42F-5FDE-4A09-BCA4-BBC3F6DAD85F}" srcOrd="3" destOrd="0" presId="urn:microsoft.com/office/officeart/2018/2/layout/IconVerticalSolidList"/>
    <dgm:cxn modelId="{E56D543F-C6DD-46F2-91E9-35904C5324A3}" type="presParOf" srcId="{32AA409F-E2C8-45D9-ACF8-5F6F463B3B5A}" destId="{404957D3-AD4E-4B04-9877-EFB142F3C439}" srcOrd="4" destOrd="0" presId="urn:microsoft.com/office/officeart/2018/2/layout/IconVerticalSolidList"/>
    <dgm:cxn modelId="{CDB41900-0FC3-4DBD-8406-ED8A2E0810D6}" type="presParOf" srcId="{404957D3-AD4E-4B04-9877-EFB142F3C439}" destId="{8D13018F-4074-4A8D-8F4B-3F90F64A60CC}" srcOrd="0" destOrd="0" presId="urn:microsoft.com/office/officeart/2018/2/layout/IconVerticalSolidList"/>
    <dgm:cxn modelId="{33A414A1-1BF7-4BB3-8C42-F315BA0326EC}" type="presParOf" srcId="{404957D3-AD4E-4B04-9877-EFB142F3C439}" destId="{2AA72178-37C3-495F-B40A-6D985D78E261}" srcOrd="1" destOrd="0" presId="urn:microsoft.com/office/officeart/2018/2/layout/IconVerticalSolidList"/>
    <dgm:cxn modelId="{71DECC6D-B6E5-47F7-99F6-9308A81F56D8}" type="presParOf" srcId="{404957D3-AD4E-4B04-9877-EFB142F3C439}" destId="{C8D9E903-81CE-406E-A871-34A7998B99AB}" srcOrd="2" destOrd="0" presId="urn:microsoft.com/office/officeart/2018/2/layout/IconVerticalSolidList"/>
    <dgm:cxn modelId="{0EB9719E-4389-4E56-BCBC-C1F875F21A40}" type="presParOf" srcId="{404957D3-AD4E-4B04-9877-EFB142F3C439}" destId="{3E215D2D-A80F-4732-B7E4-18E88A725605}" srcOrd="3" destOrd="0" presId="urn:microsoft.com/office/officeart/2018/2/layout/IconVerticalSolidList"/>
    <dgm:cxn modelId="{C844693A-C84F-4671-9B9C-8D473D2698CC}" type="presParOf" srcId="{32AA409F-E2C8-45D9-ACF8-5F6F463B3B5A}" destId="{DE09F762-EDC9-40E5-BB83-74FECD3F649F}" srcOrd="5" destOrd="0" presId="urn:microsoft.com/office/officeart/2018/2/layout/IconVerticalSolidList"/>
    <dgm:cxn modelId="{0455F0D9-83DE-476C-9A85-1A619423F1CA}" type="presParOf" srcId="{32AA409F-E2C8-45D9-ACF8-5F6F463B3B5A}" destId="{2171E0FE-8E9C-4F94-A064-4FA7293A329D}" srcOrd="6" destOrd="0" presId="urn:microsoft.com/office/officeart/2018/2/layout/IconVerticalSolidList"/>
    <dgm:cxn modelId="{C1723506-8320-4833-A9F7-8D27906FCDD3}" type="presParOf" srcId="{2171E0FE-8E9C-4F94-A064-4FA7293A329D}" destId="{12FD2BBF-E85B-4F5D-B900-8E159CFB46CC}" srcOrd="0" destOrd="0" presId="urn:microsoft.com/office/officeart/2018/2/layout/IconVerticalSolidList"/>
    <dgm:cxn modelId="{2E7752DF-3785-4F0E-91D5-7494F501EB91}" type="presParOf" srcId="{2171E0FE-8E9C-4F94-A064-4FA7293A329D}" destId="{14D4628E-5507-40BD-86CA-382A92AED607}" srcOrd="1" destOrd="0" presId="urn:microsoft.com/office/officeart/2018/2/layout/IconVerticalSolidList"/>
    <dgm:cxn modelId="{1B1015BC-21DD-4ED3-B6BB-D97F60D24E27}" type="presParOf" srcId="{2171E0FE-8E9C-4F94-A064-4FA7293A329D}" destId="{B711F56E-5D6F-4136-B615-F6448B0CC8E6}" srcOrd="2" destOrd="0" presId="urn:microsoft.com/office/officeart/2018/2/layout/IconVerticalSolidList"/>
    <dgm:cxn modelId="{1DF57A30-69F0-4BB4-8F8F-B85348BA901A}" type="presParOf" srcId="{2171E0FE-8E9C-4F94-A064-4FA7293A329D}" destId="{A3D16F56-0516-4602-89E4-FFC891DA0588}" srcOrd="3" destOrd="0" presId="urn:microsoft.com/office/officeart/2018/2/layout/IconVerticalSolidList"/>
    <dgm:cxn modelId="{8E71694E-D3CD-4DD3-8CF0-2FA6B74E0778}" type="presParOf" srcId="{32AA409F-E2C8-45D9-ACF8-5F6F463B3B5A}" destId="{4F4F4414-596F-4B17-AB27-60978D12CB1A}" srcOrd="7" destOrd="0" presId="urn:microsoft.com/office/officeart/2018/2/layout/IconVerticalSolidList"/>
    <dgm:cxn modelId="{6D661BC0-4FFF-4649-9F45-0D3BC2BC15B4}" type="presParOf" srcId="{32AA409F-E2C8-45D9-ACF8-5F6F463B3B5A}" destId="{E1302B3E-D9A9-43A7-BCC9-B95F74BD76EF}" srcOrd="8" destOrd="0" presId="urn:microsoft.com/office/officeart/2018/2/layout/IconVerticalSolidList"/>
    <dgm:cxn modelId="{8469CFCC-752E-42CD-A97F-54E51170569A}" type="presParOf" srcId="{E1302B3E-D9A9-43A7-BCC9-B95F74BD76EF}" destId="{EE00E6CC-C6FD-4E49-A9F5-B2AC1BEBDE57}" srcOrd="0" destOrd="0" presId="urn:microsoft.com/office/officeart/2018/2/layout/IconVerticalSolidList"/>
    <dgm:cxn modelId="{4A0DED4B-34E2-4FFB-95AC-A9D2CEC66B87}" type="presParOf" srcId="{E1302B3E-D9A9-43A7-BCC9-B95F74BD76EF}" destId="{85A45FB8-7FFA-42E5-87F3-C302A492F6AA}" srcOrd="1" destOrd="0" presId="urn:microsoft.com/office/officeart/2018/2/layout/IconVerticalSolidList"/>
    <dgm:cxn modelId="{FD95E5EA-3FE3-4805-8BD8-77AF65B394BC}" type="presParOf" srcId="{E1302B3E-D9A9-43A7-BCC9-B95F74BD76EF}" destId="{7B48E748-3A08-4FA2-AE77-1C35CAED03F5}" srcOrd="2" destOrd="0" presId="urn:microsoft.com/office/officeart/2018/2/layout/IconVerticalSolidList"/>
    <dgm:cxn modelId="{1CA0EAD3-2456-4166-9159-7C789274115A}" type="presParOf" srcId="{E1302B3E-D9A9-43A7-BCC9-B95F74BD76EF}" destId="{701A6CC1-F719-4EC4-94AF-EEE0CDD2AC23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F701C63D-2ACB-446A-A384-4523446B35D3}" type="doc">
      <dgm:prSet loTypeId="urn:microsoft.com/office/officeart/2005/8/layout/default" loCatId="list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F6FFAE6A-F22D-4DF2-814D-F7E639168172}">
      <dgm:prSet/>
      <dgm:spPr/>
      <dgm:t>
        <a:bodyPr/>
        <a:lstStyle/>
        <a:p>
          <a:r>
            <a:rPr lang="en-US" dirty="0"/>
            <a:t>❖Group Booking</a:t>
          </a:r>
        </a:p>
      </dgm:t>
    </dgm:pt>
    <dgm:pt modelId="{7C539824-00CB-4857-BE65-EA4B415937D6}" type="parTrans" cxnId="{40FC56B3-FD8D-4173-BC73-19303181395D}">
      <dgm:prSet/>
      <dgm:spPr/>
      <dgm:t>
        <a:bodyPr/>
        <a:lstStyle/>
        <a:p>
          <a:endParaRPr lang="en-US"/>
        </a:p>
      </dgm:t>
    </dgm:pt>
    <dgm:pt modelId="{C45881FD-F194-4D7C-BC07-0BA98C2ED134}" type="sibTrans" cxnId="{40FC56B3-FD8D-4173-BC73-19303181395D}">
      <dgm:prSet/>
      <dgm:spPr/>
      <dgm:t>
        <a:bodyPr/>
        <a:lstStyle/>
        <a:p>
          <a:endParaRPr lang="en-US"/>
        </a:p>
      </dgm:t>
    </dgm:pt>
    <dgm:pt modelId="{7B1B0C2B-AF68-4A60-AC49-B70B48AAC34F}">
      <dgm:prSet/>
      <dgm:spPr/>
      <dgm:t>
        <a:bodyPr/>
        <a:lstStyle/>
        <a:p>
          <a:r>
            <a:rPr lang="en-US"/>
            <a:t>⮚Location (Date and Venue)</a:t>
          </a:r>
        </a:p>
      </dgm:t>
    </dgm:pt>
    <dgm:pt modelId="{4C283794-33EF-4DDB-A566-4506A6D0F8BE}" type="parTrans" cxnId="{4BD84E78-AB55-422A-B83C-D66504272872}">
      <dgm:prSet/>
      <dgm:spPr/>
      <dgm:t>
        <a:bodyPr/>
        <a:lstStyle/>
        <a:p>
          <a:endParaRPr lang="en-US"/>
        </a:p>
      </dgm:t>
    </dgm:pt>
    <dgm:pt modelId="{444F45E9-B816-4856-AB9E-8DFD60011D39}" type="sibTrans" cxnId="{4BD84E78-AB55-422A-B83C-D66504272872}">
      <dgm:prSet/>
      <dgm:spPr/>
      <dgm:t>
        <a:bodyPr/>
        <a:lstStyle/>
        <a:p>
          <a:endParaRPr lang="en-US"/>
        </a:p>
      </dgm:t>
    </dgm:pt>
    <dgm:pt modelId="{5D92DD83-27EF-448C-805C-A0828427D194}">
      <dgm:prSet/>
      <dgm:spPr/>
      <dgm:t>
        <a:bodyPr/>
        <a:lstStyle/>
        <a:p>
          <a:r>
            <a:rPr lang="en-US"/>
            <a:t>⮚Team members , Volunteers, Jury</a:t>
          </a:r>
        </a:p>
      </dgm:t>
    </dgm:pt>
    <dgm:pt modelId="{7921A7F5-2E36-4FCC-B1F5-6053AE37B2E9}" type="parTrans" cxnId="{90AA7447-CC14-4977-8148-A6053888B327}">
      <dgm:prSet/>
      <dgm:spPr/>
      <dgm:t>
        <a:bodyPr/>
        <a:lstStyle/>
        <a:p>
          <a:endParaRPr lang="en-US"/>
        </a:p>
      </dgm:t>
    </dgm:pt>
    <dgm:pt modelId="{2DDDEC44-5450-488F-AD6C-26E5C2084907}" type="sibTrans" cxnId="{90AA7447-CC14-4977-8148-A6053888B327}">
      <dgm:prSet/>
      <dgm:spPr/>
      <dgm:t>
        <a:bodyPr/>
        <a:lstStyle/>
        <a:p>
          <a:endParaRPr lang="en-US"/>
        </a:p>
      </dgm:t>
    </dgm:pt>
    <dgm:pt modelId="{7DA1344F-A9B6-41F0-8C3D-4A3B9F7599B2}">
      <dgm:prSet/>
      <dgm:spPr/>
      <dgm:t>
        <a:bodyPr/>
        <a:lstStyle/>
        <a:p>
          <a:r>
            <a:rPr lang="en-US" dirty="0"/>
            <a:t>⮚Other important info</a:t>
          </a:r>
        </a:p>
      </dgm:t>
    </dgm:pt>
    <dgm:pt modelId="{42F62E64-9258-4065-918D-136EF504BB8D}" type="parTrans" cxnId="{72E79A57-445C-4C85-996C-8E9968207F5A}">
      <dgm:prSet/>
      <dgm:spPr/>
      <dgm:t>
        <a:bodyPr/>
        <a:lstStyle/>
        <a:p>
          <a:endParaRPr lang="en-US"/>
        </a:p>
      </dgm:t>
    </dgm:pt>
    <dgm:pt modelId="{2D0CED54-53FE-467F-9DC5-9633138F64CF}" type="sibTrans" cxnId="{72E79A57-445C-4C85-996C-8E9968207F5A}">
      <dgm:prSet/>
      <dgm:spPr/>
      <dgm:t>
        <a:bodyPr/>
        <a:lstStyle/>
        <a:p>
          <a:endParaRPr lang="en-US"/>
        </a:p>
      </dgm:t>
    </dgm:pt>
    <dgm:pt modelId="{9DB9B85B-A321-491C-AA8E-F0976C002EC8}">
      <dgm:prSet/>
      <dgm:spPr/>
      <dgm:t>
        <a:bodyPr/>
        <a:lstStyle/>
        <a:p>
          <a:r>
            <a:rPr lang="en-US"/>
            <a:t>⮚Live scores</a:t>
          </a:r>
        </a:p>
      </dgm:t>
    </dgm:pt>
    <dgm:pt modelId="{59C43F54-FD60-4642-A274-B324285A0D79}" type="parTrans" cxnId="{B1EFA0B5-2B55-4506-A53D-CF50567BF65F}">
      <dgm:prSet/>
      <dgm:spPr/>
      <dgm:t>
        <a:bodyPr/>
        <a:lstStyle/>
        <a:p>
          <a:endParaRPr lang="en-US"/>
        </a:p>
      </dgm:t>
    </dgm:pt>
    <dgm:pt modelId="{2C689AD2-5205-4F96-BE81-11655B5F46C0}" type="sibTrans" cxnId="{B1EFA0B5-2B55-4506-A53D-CF50567BF65F}">
      <dgm:prSet/>
      <dgm:spPr/>
      <dgm:t>
        <a:bodyPr/>
        <a:lstStyle/>
        <a:p>
          <a:endParaRPr lang="en-US"/>
        </a:p>
      </dgm:t>
    </dgm:pt>
    <dgm:pt modelId="{D6A8DE5A-9FE5-4C32-AD39-D7C55335FF5B}">
      <dgm:prSet/>
      <dgm:spPr/>
      <dgm:t>
        <a:bodyPr/>
        <a:lstStyle/>
        <a:p>
          <a:r>
            <a:rPr lang="en-US"/>
            <a:t>⮚Pictures or gallery</a:t>
          </a:r>
        </a:p>
      </dgm:t>
    </dgm:pt>
    <dgm:pt modelId="{792EC06A-D041-4DA2-943E-93DB8857CDC6}" type="parTrans" cxnId="{4EED54E4-BAC5-4DEC-98E8-481A62C88101}">
      <dgm:prSet/>
      <dgm:spPr/>
      <dgm:t>
        <a:bodyPr/>
        <a:lstStyle/>
        <a:p>
          <a:endParaRPr lang="en-US"/>
        </a:p>
      </dgm:t>
    </dgm:pt>
    <dgm:pt modelId="{733708C9-5066-4C7A-9F81-B5C76F9DCE1C}" type="sibTrans" cxnId="{4EED54E4-BAC5-4DEC-98E8-481A62C88101}">
      <dgm:prSet/>
      <dgm:spPr/>
      <dgm:t>
        <a:bodyPr/>
        <a:lstStyle/>
        <a:p>
          <a:endParaRPr lang="en-US"/>
        </a:p>
      </dgm:t>
    </dgm:pt>
    <dgm:pt modelId="{CF0C6733-410E-4518-9904-FB9593E716B8}">
      <dgm:prSet/>
      <dgm:spPr/>
      <dgm:t>
        <a:bodyPr/>
        <a:lstStyle/>
        <a:p>
          <a:r>
            <a:rPr lang="en-US" dirty="0"/>
            <a:t>⮚Post event update status</a:t>
          </a:r>
        </a:p>
      </dgm:t>
    </dgm:pt>
    <dgm:pt modelId="{482C1FFF-D7F5-4076-9D43-BF4A04B59F1D}" type="parTrans" cxnId="{89C5AF94-BCE4-4F1F-BF38-B9D4427E4CE0}">
      <dgm:prSet/>
      <dgm:spPr/>
      <dgm:t>
        <a:bodyPr/>
        <a:lstStyle/>
        <a:p>
          <a:endParaRPr lang="en-US"/>
        </a:p>
      </dgm:t>
    </dgm:pt>
    <dgm:pt modelId="{C5C8FC89-C327-47E0-BF0D-A102A0A924A1}" type="sibTrans" cxnId="{89C5AF94-BCE4-4F1F-BF38-B9D4427E4CE0}">
      <dgm:prSet/>
      <dgm:spPr/>
      <dgm:t>
        <a:bodyPr/>
        <a:lstStyle/>
        <a:p>
          <a:endParaRPr lang="en-US"/>
        </a:p>
      </dgm:t>
    </dgm:pt>
    <dgm:pt modelId="{58F95FB0-B377-4D06-9382-8E2DE8416B0E}">
      <dgm:prSet/>
      <dgm:spPr/>
      <dgm:t>
        <a:bodyPr/>
        <a:lstStyle/>
        <a:p>
          <a:r>
            <a:rPr lang="en-US" dirty="0"/>
            <a:t>⮚Social Connect</a:t>
          </a:r>
        </a:p>
      </dgm:t>
    </dgm:pt>
    <dgm:pt modelId="{349C9849-1126-401F-BBAD-AB81850CBBC6}" type="parTrans" cxnId="{0195EFEC-8256-4795-8180-764B2677A04E}">
      <dgm:prSet/>
      <dgm:spPr/>
      <dgm:t>
        <a:bodyPr/>
        <a:lstStyle/>
        <a:p>
          <a:endParaRPr lang="en-US"/>
        </a:p>
      </dgm:t>
    </dgm:pt>
    <dgm:pt modelId="{8518B848-ECBF-45A6-B6EE-C75BBEE80DB0}" type="sibTrans" cxnId="{0195EFEC-8256-4795-8180-764B2677A04E}">
      <dgm:prSet/>
      <dgm:spPr/>
      <dgm:t>
        <a:bodyPr/>
        <a:lstStyle/>
        <a:p>
          <a:endParaRPr lang="en-US"/>
        </a:p>
      </dgm:t>
    </dgm:pt>
    <dgm:pt modelId="{1446C700-240A-450D-8AEB-181DF37AC361}" type="pres">
      <dgm:prSet presAssocID="{F701C63D-2ACB-446A-A384-4523446B35D3}" presName="diagram" presStyleCnt="0">
        <dgm:presLayoutVars>
          <dgm:dir/>
          <dgm:resizeHandles val="exact"/>
        </dgm:presLayoutVars>
      </dgm:prSet>
      <dgm:spPr/>
    </dgm:pt>
    <dgm:pt modelId="{6F7195DD-3A95-475E-827F-0AA140B7ED15}" type="pres">
      <dgm:prSet presAssocID="{F6FFAE6A-F22D-4DF2-814D-F7E639168172}" presName="node" presStyleLbl="node1" presStyleIdx="0" presStyleCnt="8">
        <dgm:presLayoutVars>
          <dgm:bulletEnabled val="1"/>
        </dgm:presLayoutVars>
      </dgm:prSet>
      <dgm:spPr/>
    </dgm:pt>
    <dgm:pt modelId="{2B637E5E-E05B-42DF-86D6-E2D6942B0745}" type="pres">
      <dgm:prSet presAssocID="{C45881FD-F194-4D7C-BC07-0BA98C2ED134}" presName="sibTrans" presStyleCnt="0"/>
      <dgm:spPr/>
    </dgm:pt>
    <dgm:pt modelId="{ADCB4756-3638-408C-8CC7-9C563FC9B2E4}" type="pres">
      <dgm:prSet presAssocID="{7B1B0C2B-AF68-4A60-AC49-B70B48AAC34F}" presName="node" presStyleLbl="node1" presStyleIdx="1" presStyleCnt="8">
        <dgm:presLayoutVars>
          <dgm:bulletEnabled val="1"/>
        </dgm:presLayoutVars>
      </dgm:prSet>
      <dgm:spPr/>
    </dgm:pt>
    <dgm:pt modelId="{2CDC195D-0F0A-40E8-AF86-33E1861B8700}" type="pres">
      <dgm:prSet presAssocID="{444F45E9-B816-4856-AB9E-8DFD60011D39}" presName="sibTrans" presStyleCnt="0"/>
      <dgm:spPr/>
    </dgm:pt>
    <dgm:pt modelId="{D8D583BC-33A2-4F71-8707-7A2BFCE2348D}" type="pres">
      <dgm:prSet presAssocID="{5D92DD83-27EF-448C-805C-A0828427D194}" presName="node" presStyleLbl="node1" presStyleIdx="2" presStyleCnt="8">
        <dgm:presLayoutVars>
          <dgm:bulletEnabled val="1"/>
        </dgm:presLayoutVars>
      </dgm:prSet>
      <dgm:spPr/>
    </dgm:pt>
    <dgm:pt modelId="{5B838350-2A98-4F6D-A31D-557694AC3E86}" type="pres">
      <dgm:prSet presAssocID="{2DDDEC44-5450-488F-AD6C-26E5C2084907}" presName="sibTrans" presStyleCnt="0"/>
      <dgm:spPr/>
    </dgm:pt>
    <dgm:pt modelId="{23CA40D4-70F7-4685-94E7-8E549E2D9479}" type="pres">
      <dgm:prSet presAssocID="{7DA1344F-A9B6-41F0-8C3D-4A3B9F7599B2}" presName="node" presStyleLbl="node1" presStyleIdx="3" presStyleCnt="8">
        <dgm:presLayoutVars>
          <dgm:bulletEnabled val="1"/>
        </dgm:presLayoutVars>
      </dgm:prSet>
      <dgm:spPr/>
    </dgm:pt>
    <dgm:pt modelId="{C753E682-7DE8-4AC1-8A08-EBACDF1FAAF6}" type="pres">
      <dgm:prSet presAssocID="{2D0CED54-53FE-467F-9DC5-9633138F64CF}" presName="sibTrans" presStyleCnt="0"/>
      <dgm:spPr/>
    </dgm:pt>
    <dgm:pt modelId="{638A250F-34CE-4211-AE41-871421B4010E}" type="pres">
      <dgm:prSet presAssocID="{9DB9B85B-A321-491C-AA8E-F0976C002EC8}" presName="node" presStyleLbl="node1" presStyleIdx="4" presStyleCnt="8">
        <dgm:presLayoutVars>
          <dgm:bulletEnabled val="1"/>
        </dgm:presLayoutVars>
      </dgm:prSet>
      <dgm:spPr/>
    </dgm:pt>
    <dgm:pt modelId="{D4C01E05-4F40-4F47-8071-D64BFDD25890}" type="pres">
      <dgm:prSet presAssocID="{2C689AD2-5205-4F96-BE81-11655B5F46C0}" presName="sibTrans" presStyleCnt="0"/>
      <dgm:spPr/>
    </dgm:pt>
    <dgm:pt modelId="{8C8C0FDF-C8FA-4681-8056-453AED5798AF}" type="pres">
      <dgm:prSet presAssocID="{D6A8DE5A-9FE5-4C32-AD39-D7C55335FF5B}" presName="node" presStyleLbl="node1" presStyleIdx="5" presStyleCnt="8">
        <dgm:presLayoutVars>
          <dgm:bulletEnabled val="1"/>
        </dgm:presLayoutVars>
      </dgm:prSet>
      <dgm:spPr/>
    </dgm:pt>
    <dgm:pt modelId="{27289022-013F-41C9-A70B-80440E34882E}" type="pres">
      <dgm:prSet presAssocID="{733708C9-5066-4C7A-9F81-B5C76F9DCE1C}" presName="sibTrans" presStyleCnt="0"/>
      <dgm:spPr/>
    </dgm:pt>
    <dgm:pt modelId="{3B1C5911-CEB4-4A95-8CD0-301D920983F2}" type="pres">
      <dgm:prSet presAssocID="{CF0C6733-410E-4518-9904-FB9593E716B8}" presName="node" presStyleLbl="node1" presStyleIdx="6" presStyleCnt="8">
        <dgm:presLayoutVars>
          <dgm:bulletEnabled val="1"/>
        </dgm:presLayoutVars>
      </dgm:prSet>
      <dgm:spPr/>
    </dgm:pt>
    <dgm:pt modelId="{E2F123EA-EF05-4F3A-B594-24AC194C524B}" type="pres">
      <dgm:prSet presAssocID="{C5C8FC89-C327-47E0-BF0D-A102A0A924A1}" presName="sibTrans" presStyleCnt="0"/>
      <dgm:spPr/>
    </dgm:pt>
    <dgm:pt modelId="{9AE5EFD2-9C07-4D35-A199-A8301AA859EB}" type="pres">
      <dgm:prSet presAssocID="{58F95FB0-B377-4D06-9382-8E2DE8416B0E}" presName="node" presStyleLbl="node1" presStyleIdx="7" presStyleCnt="8">
        <dgm:presLayoutVars>
          <dgm:bulletEnabled val="1"/>
        </dgm:presLayoutVars>
      </dgm:prSet>
      <dgm:spPr/>
    </dgm:pt>
  </dgm:ptLst>
  <dgm:cxnLst>
    <dgm:cxn modelId="{B44F2306-76F6-4A37-A0F5-94EE85BE311C}" type="presOf" srcId="{CF0C6733-410E-4518-9904-FB9593E716B8}" destId="{3B1C5911-CEB4-4A95-8CD0-301D920983F2}" srcOrd="0" destOrd="0" presId="urn:microsoft.com/office/officeart/2005/8/layout/default"/>
    <dgm:cxn modelId="{4E8F5A13-F72A-4EBC-9C12-0F60D477D786}" type="presOf" srcId="{F701C63D-2ACB-446A-A384-4523446B35D3}" destId="{1446C700-240A-450D-8AEB-181DF37AC361}" srcOrd="0" destOrd="0" presId="urn:microsoft.com/office/officeart/2005/8/layout/default"/>
    <dgm:cxn modelId="{90AA7447-CC14-4977-8148-A6053888B327}" srcId="{F701C63D-2ACB-446A-A384-4523446B35D3}" destId="{5D92DD83-27EF-448C-805C-A0828427D194}" srcOrd="2" destOrd="0" parTransId="{7921A7F5-2E36-4FCC-B1F5-6053AE37B2E9}" sibTransId="{2DDDEC44-5450-488F-AD6C-26E5C2084907}"/>
    <dgm:cxn modelId="{5F5D9051-468F-4564-B1E9-D27D7584A4F5}" type="presOf" srcId="{5D92DD83-27EF-448C-805C-A0828427D194}" destId="{D8D583BC-33A2-4F71-8707-7A2BFCE2348D}" srcOrd="0" destOrd="0" presId="urn:microsoft.com/office/officeart/2005/8/layout/default"/>
    <dgm:cxn modelId="{A1DBEC75-A38D-4CCA-A7D1-78507A24ADBB}" type="presOf" srcId="{9DB9B85B-A321-491C-AA8E-F0976C002EC8}" destId="{638A250F-34CE-4211-AE41-871421B4010E}" srcOrd="0" destOrd="0" presId="urn:microsoft.com/office/officeart/2005/8/layout/default"/>
    <dgm:cxn modelId="{72E79A57-445C-4C85-996C-8E9968207F5A}" srcId="{F701C63D-2ACB-446A-A384-4523446B35D3}" destId="{7DA1344F-A9B6-41F0-8C3D-4A3B9F7599B2}" srcOrd="3" destOrd="0" parTransId="{42F62E64-9258-4065-918D-136EF504BB8D}" sibTransId="{2D0CED54-53FE-467F-9DC5-9633138F64CF}"/>
    <dgm:cxn modelId="{4BD84E78-AB55-422A-B83C-D66504272872}" srcId="{F701C63D-2ACB-446A-A384-4523446B35D3}" destId="{7B1B0C2B-AF68-4A60-AC49-B70B48AAC34F}" srcOrd="1" destOrd="0" parTransId="{4C283794-33EF-4DDB-A566-4506A6D0F8BE}" sibTransId="{444F45E9-B816-4856-AB9E-8DFD60011D39}"/>
    <dgm:cxn modelId="{85FB9F5A-F6D9-43D9-A96F-01E8BE7C3409}" type="presOf" srcId="{D6A8DE5A-9FE5-4C32-AD39-D7C55335FF5B}" destId="{8C8C0FDF-C8FA-4681-8056-453AED5798AF}" srcOrd="0" destOrd="0" presId="urn:microsoft.com/office/officeart/2005/8/layout/default"/>
    <dgm:cxn modelId="{89C5AF94-BCE4-4F1F-BF38-B9D4427E4CE0}" srcId="{F701C63D-2ACB-446A-A384-4523446B35D3}" destId="{CF0C6733-410E-4518-9904-FB9593E716B8}" srcOrd="6" destOrd="0" parTransId="{482C1FFF-D7F5-4076-9D43-BF4A04B59F1D}" sibTransId="{C5C8FC89-C327-47E0-BF0D-A102A0A924A1}"/>
    <dgm:cxn modelId="{EF9F3296-A38F-4BEC-B176-A65EA69930C9}" type="presOf" srcId="{F6FFAE6A-F22D-4DF2-814D-F7E639168172}" destId="{6F7195DD-3A95-475E-827F-0AA140B7ED15}" srcOrd="0" destOrd="0" presId="urn:microsoft.com/office/officeart/2005/8/layout/default"/>
    <dgm:cxn modelId="{AD16579C-63A4-4909-B4E7-8D767A87B8CB}" type="presOf" srcId="{58F95FB0-B377-4D06-9382-8E2DE8416B0E}" destId="{9AE5EFD2-9C07-4D35-A199-A8301AA859EB}" srcOrd="0" destOrd="0" presId="urn:microsoft.com/office/officeart/2005/8/layout/default"/>
    <dgm:cxn modelId="{833F0AA8-2EB0-4AEA-879C-FEA7BD9D5D23}" type="presOf" srcId="{7B1B0C2B-AF68-4A60-AC49-B70B48AAC34F}" destId="{ADCB4756-3638-408C-8CC7-9C563FC9B2E4}" srcOrd="0" destOrd="0" presId="urn:microsoft.com/office/officeart/2005/8/layout/default"/>
    <dgm:cxn modelId="{40FC56B3-FD8D-4173-BC73-19303181395D}" srcId="{F701C63D-2ACB-446A-A384-4523446B35D3}" destId="{F6FFAE6A-F22D-4DF2-814D-F7E639168172}" srcOrd="0" destOrd="0" parTransId="{7C539824-00CB-4857-BE65-EA4B415937D6}" sibTransId="{C45881FD-F194-4D7C-BC07-0BA98C2ED134}"/>
    <dgm:cxn modelId="{B1EFA0B5-2B55-4506-A53D-CF50567BF65F}" srcId="{F701C63D-2ACB-446A-A384-4523446B35D3}" destId="{9DB9B85B-A321-491C-AA8E-F0976C002EC8}" srcOrd="4" destOrd="0" parTransId="{59C43F54-FD60-4642-A274-B324285A0D79}" sibTransId="{2C689AD2-5205-4F96-BE81-11655B5F46C0}"/>
    <dgm:cxn modelId="{380F5EE3-0D84-4D85-B9E7-4D797F264CB9}" type="presOf" srcId="{7DA1344F-A9B6-41F0-8C3D-4A3B9F7599B2}" destId="{23CA40D4-70F7-4685-94E7-8E549E2D9479}" srcOrd="0" destOrd="0" presId="urn:microsoft.com/office/officeart/2005/8/layout/default"/>
    <dgm:cxn modelId="{4EED54E4-BAC5-4DEC-98E8-481A62C88101}" srcId="{F701C63D-2ACB-446A-A384-4523446B35D3}" destId="{D6A8DE5A-9FE5-4C32-AD39-D7C55335FF5B}" srcOrd="5" destOrd="0" parTransId="{792EC06A-D041-4DA2-943E-93DB8857CDC6}" sibTransId="{733708C9-5066-4C7A-9F81-B5C76F9DCE1C}"/>
    <dgm:cxn modelId="{0195EFEC-8256-4795-8180-764B2677A04E}" srcId="{F701C63D-2ACB-446A-A384-4523446B35D3}" destId="{58F95FB0-B377-4D06-9382-8E2DE8416B0E}" srcOrd="7" destOrd="0" parTransId="{349C9849-1126-401F-BBAD-AB81850CBBC6}" sibTransId="{8518B848-ECBF-45A6-B6EE-C75BBEE80DB0}"/>
    <dgm:cxn modelId="{315F713D-400B-4132-85AF-EE6EAD3FA0E3}" type="presParOf" srcId="{1446C700-240A-450D-8AEB-181DF37AC361}" destId="{6F7195DD-3A95-475E-827F-0AA140B7ED15}" srcOrd="0" destOrd="0" presId="urn:microsoft.com/office/officeart/2005/8/layout/default"/>
    <dgm:cxn modelId="{5CD4309C-1484-4653-A254-66C887FA874C}" type="presParOf" srcId="{1446C700-240A-450D-8AEB-181DF37AC361}" destId="{2B637E5E-E05B-42DF-86D6-E2D6942B0745}" srcOrd="1" destOrd="0" presId="urn:microsoft.com/office/officeart/2005/8/layout/default"/>
    <dgm:cxn modelId="{FFBCE8A5-0724-4293-A66E-350E0EB9ACBC}" type="presParOf" srcId="{1446C700-240A-450D-8AEB-181DF37AC361}" destId="{ADCB4756-3638-408C-8CC7-9C563FC9B2E4}" srcOrd="2" destOrd="0" presId="urn:microsoft.com/office/officeart/2005/8/layout/default"/>
    <dgm:cxn modelId="{86043487-C979-487D-9EE5-42DA6BE35B23}" type="presParOf" srcId="{1446C700-240A-450D-8AEB-181DF37AC361}" destId="{2CDC195D-0F0A-40E8-AF86-33E1861B8700}" srcOrd="3" destOrd="0" presId="urn:microsoft.com/office/officeart/2005/8/layout/default"/>
    <dgm:cxn modelId="{8E7EE5F8-4EE7-4109-B0B0-C2D136976F84}" type="presParOf" srcId="{1446C700-240A-450D-8AEB-181DF37AC361}" destId="{D8D583BC-33A2-4F71-8707-7A2BFCE2348D}" srcOrd="4" destOrd="0" presId="urn:microsoft.com/office/officeart/2005/8/layout/default"/>
    <dgm:cxn modelId="{D316C617-F0ED-4CA1-A2AB-0CB21C393937}" type="presParOf" srcId="{1446C700-240A-450D-8AEB-181DF37AC361}" destId="{5B838350-2A98-4F6D-A31D-557694AC3E86}" srcOrd="5" destOrd="0" presId="urn:microsoft.com/office/officeart/2005/8/layout/default"/>
    <dgm:cxn modelId="{1DACC56F-D54B-4E08-9D6F-AEAAD5B6D148}" type="presParOf" srcId="{1446C700-240A-450D-8AEB-181DF37AC361}" destId="{23CA40D4-70F7-4685-94E7-8E549E2D9479}" srcOrd="6" destOrd="0" presId="urn:microsoft.com/office/officeart/2005/8/layout/default"/>
    <dgm:cxn modelId="{CD4E3084-CBE8-4B6B-B3D6-CCAE377C1326}" type="presParOf" srcId="{1446C700-240A-450D-8AEB-181DF37AC361}" destId="{C753E682-7DE8-4AC1-8A08-EBACDF1FAAF6}" srcOrd="7" destOrd="0" presId="urn:microsoft.com/office/officeart/2005/8/layout/default"/>
    <dgm:cxn modelId="{AA2459E2-8469-41D3-B0C4-B961547E7E74}" type="presParOf" srcId="{1446C700-240A-450D-8AEB-181DF37AC361}" destId="{638A250F-34CE-4211-AE41-871421B4010E}" srcOrd="8" destOrd="0" presId="urn:microsoft.com/office/officeart/2005/8/layout/default"/>
    <dgm:cxn modelId="{4115FE69-B206-4BBB-B283-C3E457333285}" type="presParOf" srcId="{1446C700-240A-450D-8AEB-181DF37AC361}" destId="{D4C01E05-4F40-4F47-8071-D64BFDD25890}" srcOrd="9" destOrd="0" presId="urn:microsoft.com/office/officeart/2005/8/layout/default"/>
    <dgm:cxn modelId="{8D283225-EDBC-4844-ABF3-E2A3A323F1EB}" type="presParOf" srcId="{1446C700-240A-450D-8AEB-181DF37AC361}" destId="{8C8C0FDF-C8FA-4681-8056-453AED5798AF}" srcOrd="10" destOrd="0" presId="urn:microsoft.com/office/officeart/2005/8/layout/default"/>
    <dgm:cxn modelId="{E4F82F26-6A07-4B11-8BBD-6628F4F49220}" type="presParOf" srcId="{1446C700-240A-450D-8AEB-181DF37AC361}" destId="{27289022-013F-41C9-A70B-80440E34882E}" srcOrd="11" destOrd="0" presId="urn:microsoft.com/office/officeart/2005/8/layout/default"/>
    <dgm:cxn modelId="{EFC5DAA2-A101-480B-847F-D714BF996E2E}" type="presParOf" srcId="{1446C700-240A-450D-8AEB-181DF37AC361}" destId="{3B1C5911-CEB4-4A95-8CD0-301D920983F2}" srcOrd="12" destOrd="0" presId="urn:microsoft.com/office/officeart/2005/8/layout/default"/>
    <dgm:cxn modelId="{559E09A9-1010-48E9-B442-12193418BD51}" type="presParOf" srcId="{1446C700-240A-450D-8AEB-181DF37AC361}" destId="{E2F123EA-EF05-4F3A-B594-24AC194C524B}" srcOrd="13" destOrd="0" presId="urn:microsoft.com/office/officeart/2005/8/layout/default"/>
    <dgm:cxn modelId="{3CB70AF0-F7CF-4CC7-A8A1-DD3B93F8608B}" type="presParOf" srcId="{1446C700-240A-450D-8AEB-181DF37AC361}" destId="{9AE5EFD2-9C07-4D35-A199-A8301AA859EB}" srcOrd="14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BCCE496-C706-4F0D-B3CF-0C8D83A0495B}">
      <dsp:nvSpPr>
        <dsp:cNvPr id="0" name=""/>
        <dsp:cNvSpPr/>
      </dsp:nvSpPr>
      <dsp:spPr>
        <a:xfrm>
          <a:off x="0" y="4326515"/>
          <a:ext cx="8423275" cy="7098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35128" tIns="135128" rIns="135128" bIns="135128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- Difficulty in tracking event statuses.</a:t>
          </a:r>
        </a:p>
      </dsp:txBody>
      <dsp:txXfrm>
        <a:off x="0" y="4326515"/>
        <a:ext cx="8423275" cy="709800"/>
      </dsp:txXfrm>
    </dsp:sp>
    <dsp:sp modelId="{B3C9AEB1-6141-40C1-AA9B-0BE6F2696029}">
      <dsp:nvSpPr>
        <dsp:cNvPr id="0" name=""/>
        <dsp:cNvSpPr/>
      </dsp:nvSpPr>
      <dsp:spPr>
        <a:xfrm rot="10800000">
          <a:off x="0" y="3245488"/>
          <a:ext cx="8423275" cy="1091673"/>
        </a:xfrm>
        <a:prstGeom prst="upArrowCallou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35128" tIns="135128" rIns="135128" bIns="135128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- Lack of streamlined communication among players and organizers.</a:t>
          </a:r>
        </a:p>
      </dsp:txBody>
      <dsp:txXfrm rot="10800000">
        <a:off x="0" y="3245488"/>
        <a:ext cx="8423275" cy="709336"/>
      </dsp:txXfrm>
    </dsp:sp>
    <dsp:sp modelId="{AB96FD3B-AC46-4907-A35D-2651FF3390F7}">
      <dsp:nvSpPr>
        <dsp:cNvPr id="0" name=""/>
        <dsp:cNvSpPr/>
      </dsp:nvSpPr>
      <dsp:spPr>
        <a:xfrm rot="10800000">
          <a:off x="0" y="2164462"/>
          <a:ext cx="8423275" cy="1091673"/>
        </a:xfrm>
        <a:prstGeom prst="upArrowCallou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35128" tIns="135128" rIns="135128" bIns="135128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Challenges Addressed:</a:t>
          </a:r>
        </a:p>
      </dsp:txBody>
      <dsp:txXfrm rot="10800000">
        <a:off x="0" y="2164462"/>
        <a:ext cx="8423275" cy="709336"/>
      </dsp:txXfrm>
    </dsp:sp>
    <dsp:sp modelId="{3D6123B9-C2C0-4303-BB02-D46F3F8863B2}">
      <dsp:nvSpPr>
        <dsp:cNvPr id="0" name=""/>
        <dsp:cNvSpPr/>
      </dsp:nvSpPr>
      <dsp:spPr>
        <a:xfrm rot="10800000">
          <a:off x="0" y="1083435"/>
          <a:ext cx="8423275" cy="1091673"/>
        </a:xfrm>
        <a:prstGeom prst="upArrowCallou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35128" tIns="135128" rIns="135128" bIns="135128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Centralized platform for booking events and accessing sports activity details.</a:t>
          </a:r>
        </a:p>
      </dsp:txBody>
      <dsp:txXfrm rot="10800000">
        <a:off x="0" y="1083435"/>
        <a:ext cx="8423275" cy="709336"/>
      </dsp:txXfrm>
    </dsp:sp>
    <dsp:sp modelId="{3AC1B645-B9ED-4585-A90F-10ADF0F7F4F5}">
      <dsp:nvSpPr>
        <dsp:cNvPr id="0" name=""/>
        <dsp:cNvSpPr/>
      </dsp:nvSpPr>
      <dsp:spPr>
        <a:xfrm rot="10800000">
          <a:off x="0" y="2408"/>
          <a:ext cx="8423275" cy="1091673"/>
        </a:xfrm>
        <a:prstGeom prst="upArrowCallou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35128" tIns="135128" rIns="135128" bIns="135128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Objective:</a:t>
          </a:r>
        </a:p>
      </dsp:txBody>
      <dsp:txXfrm rot="10800000">
        <a:off x="0" y="2408"/>
        <a:ext cx="8423275" cy="70933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00E0946-211D-411E-B334-B0B48CFF2470}">
      <dsp:nvSpPr>
        <dsp:cNvPr id="0" name=""/>
        <dsp:cNvSpPr/>
      </dsp:nvSpPr>
      <dsp:spPr>
        <a:xfrm>
          <a:off x="184274" y="2671"/>
          <a:ext cx="2517328" cy="1510396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Book Slots for all sports</a:t>
          </a:r>
        </a:p>
      </dsp:txBody>
      <dsp:txXfrm>
        <a:off x="184274" y="2671"/>
        <a:ext cx="2517328" cy="1510396"/>
      </dsp:txXfrm>
    </dsp:sp>
    <dsp:sp modelId="{B9B21D78-FA04-4056-B955-179F7D4B509D}">
      <dsp:nvSpPr>
        <dsp:cNvPr id="0" name=""/>
        <dsp:cNvSpPr/>
      </dsp:nvSpPr>
      <dsp:spPr>
        <a:xfrm>
          <a:off x="2953335" y="2671"/>
          <a:ext cx="2517328" cy="1510396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Easy event slot booking within the platform</a:t>
          </a:r>
        </a:p>
      </dsp:txBody>
      <dsp:txXfrm>
        <a:off x="2953335" y="2671"/>
        <a:ext cx="2517328" cy="1510396"/>
      </dsp:txXfrm>
    </dsp:sp>
    <dsp:sp modelId="{FB2F29F6-C301-4AEA-90A3-7C1ADF0A2B27}">
      <dsp:nvSpPr>
        <dsp:cNvPr id="0" name=""/>
        <dsp:cNvSpPr/>
      </dsp:nvSpPr>
      <dsp:spPr>
        <a:xfrm>
          <a:off x="5722396" y="2671"/>
          <a:ext cx="2517328" cy="1510396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 Detailed Event Listings</a:t>
          </a:r>
        </a:p>
      </dsp:txBody>
      <dsp:txXfrm>
        <a:off x="5722396" y="2671"/>
        <a:ext cx="2517328" cy="1510396"/>
      </dsp:txXfrm>
    </dsp:sp>
    <dsp:sp modelId="{D35DD2D7-95F7-4E82-A3B9-0A4D97E5A15B}">
      <dsp:nvSpPr>
        <dsp:cNvPr id="0" name=""/>
        <dsp:cNvSpPr/>
      </dsp:nvSpPr>
      <dsp:spPr>
        <a:xfrm>
          <a:off x="184274" y="1764801"/>
          <a:ext cx="2517328" cy="1510396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Organization-wide sports, games, and competitive activities</a:t>
          </a:r>
        </a:p>
      </dsp:txBody>
      <dsp:txXfrm>
        <a:off x="184274" y="1764801"/>
        <a:ext cx="2517328" cy="1510396"/>
      </dsp:txXfrm>
    </dsp:sp>
    <dsp:sp modelId="{8624770A-E46D-4596-8872-9B94C3271D8F}">
      <dsp:nvSpPr>
        <dsp:cNvPr id="0" name=""/>
        <dsp:cNvSpPr/>
      </dsp:nvSpPr>
      <dsp:spPr>
        <a:xfrm>
          <a:off x="2953335" y="1764801"/>
          <a:ext cx="2517328" cy="1510396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Track events based on status: ongoing, completed, canceled, or upcoming</a:t>
          </a:r>
        </a:p>
      </dsp:txBody>
      <dsp:txXfrm>
        <a:off x="2953335" y="1764801"/>
        <a:ext cx="2517328" cy="1510396"/>
      </dsp:txXfrm>
    </dsp:sp>
    <dsp:sp modelId="{B88D1D76-021D-4572-B583-350BE2B229B1}">
      <dsp:nvSpPr>
        <dsp:cNvPr id="0" name=""/>
        <dsp:cNvSpPr/>
      </dsp:nvSpPr>
      <dsp:spPr>
        <a:xfrm>
          <a:off x="5722396" y="1764801"/>
          <a:ext cx="2517328" cy="1510396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Reduced Miscommunication:</a:t>
          </a:r>
        </a:p>
      </dsp:txBody>
      <dsp:txXfrm>
        <a:off x="5722396" y="1764801"/>
        <a:ext cx="2517328" cy="1510396"/>
      </dsp:txXfrm>
    </dsp:sp>
    <dsp:sp modelId="{288AF287-2593-40EB-85F1-1DB00CA6DCAB}">
      <dsp:nvSpPr>
        <dsp:cNvPr id="0" name=""/>
        <dsp:cNvSpPr/>
      </dsp:nvSpPr>
      <dsp:spPr>
        <a:xfrm>
          <a:off x="2953335" y="3526931"/>
          <a:ext cx="2517328" cy="1510396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Enhanced productivity by improving clarity between players and organizers.</a:t>
          </a:r>
        </a:p>
      </dsp:txBody>
      <dsp:txXfrm>
        <a:off x="2953335" y="3526931"/>
        <a:ext cx="2517328" cy="151039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7256E15-B67B-4F34-B511-B81E29333F5A}">
      <dsp:nvSpPr>
        <dsp:cNvPr id="0" name=""/>
        <dsp:cNvSpPr/>
      </dsp:nvSpPr>
      <dsp:spPr>
        <a:xfrm>
          <a:off x="0" y="615"/>
          <a:ext cx="8424000" cy="1439648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8818C53-6155-4BAA-90A3-207B9CEEDA25}">
      <dsp:nvSpPr>
        <dsp:cNvPr id="0" name=""/>
        <dsp:cNvSpPr/>
      </dsp:nvSpPr>
      <dsp:spPr>
        <a:xfrm>
          <a:off x="435493" y="324536"/>
          <a:ext cx="791806" cy="791806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ABC3EA7-A939-41C8-8F9C-EA50AD13A6B5}">
      <dsp:nvSpPr>
        <dsp:cNvPr id="0" name=""/>
        <dsp:cNvSpPr/>
      </dsp:nvSpPr>
      <dsp:spPr>
        <a:xfrm>
          <a:off x="1662793" y="615"/>
          <a:ext cx="6761206" cy="14396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363" tIns="152363" rIns="152363" bIns="152363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- Frontend: HTML &amp; CSS</a:t>
          </a:r>
        </a:p>
      </dsp:txBody>
      <dsp:txXfrm>
        <a:off x="1662793" y="615"/>
        <a:ext cx="6761206" cy="1439648"/>
      </dsp:txXfrm>
    </dsp:sp>
    <dsp:sp modelId="{7CE2B936-A833-43AF-AB21-0E87AA5FB7A8}">
      <dsp:nvSpPr>
        <dsp:cNvPr id="0" name=""/>
        <dsp:cNvSpPr/>
      </dsp:nvSpPr>
      <dsp:spPr>
        <a:xfrm>
          <a:off x="0" y="1800175"/>
          <a:ext cx="8424000" cy="1439648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94514D7-2BC9-4AA4-871F-09DCE2C703EC}">
      <dsp:nvSpPr>
        <dsp:cNvPr id="0" name=""/>
        <dsp:cNvSpPr/>
      </dsp:nvSpPr>
      <dsp:spPr>
        <a:xfrm>
          <a:off x="435493" y="2124096"/>
          <a:ext cx="791806" cy="791806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C819498-4B94-4B3E-87D0-7CDC0BA96FE0}">
      <dsp:nvSpPr>
        <dsp:cNvPr id="0" name=""/>
        <dsp:cNvSpPr/>
      </dsp:nvSpPr>
      <dsp:spPr>
        <a:xfrm>
          <a:off x="1662793" y="1800175"/>
          <a:ext cx="6761206" cy="14396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363" tIns="152363" rIns="152363" bIns="152363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- Middleware/Backend: Node.js, React.js</a:t>
          </a:r>
        </a:p>
      </dsp:txBody>
      <dsp:txXfrm>
        <a:off x="1662793" y="1800175"/>
        <a:ext cx="6761206" cy="1439648"/>
      </dsp:txXfrm>
    </dsp:sp>
    <dsp:sp modelId="{470D8906-94AD-4DDF-A7B4-F4156498FEED}">
      <dsp:nvSpPr>
        <dsp:cNvPr id="0" name=""/>
        <dsp:cNvSpPr/>
      </dsp:nvSpPr>
      <dsp:spPr>
        <a:xfrm>
          <a:off x="0" y="3599736"/>
          <a:ext cx="8424000" cy="1439648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1C61056-9983-4347-B464-790D01A09835}">
      <dsp:nvSpPr>
        <dsp:cNvPr id="0" name=""/>
        <dsp:cNvSpPr/>
      </dsp:nvSpPr>
      <dsp:spPr>
        <a:xfrm>
          <a:off x="435493" y="3923657"/>
          <a:ext cx="791806" cy="791806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065EBE4-A91B-4DAC-A95A-F20E84526540}">
      <dsp:nvSpPr>
        <dsp:cNvPr id="0" name=""/>
        <dsp:cNvSpPr/>
      </dsp:nvSpPr>
      <dsp:spPr>
        <a:xfrm>
          <a:off x="1662793" y="3599736"/>
          <a:ext cx="6761206" cy="14396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363" tIns="152363" rIns="152363" bIns="152363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- Database &amp; Server Management: MongoDB (Hosted on local PC)</a:t>
          </a:r>
        </a:p>
      </dsp:txBody>
      <dsp:txXfrm>
        <a:off x="1662793" y="3599736"/>
        <a:ext cx="6761206" cy="1439648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798EE8D-08C8-4D00-B82E-332135C61D5B}">
      <dsp:nvSpPr>
        <dsp:cNvPr id="0" name=""/>
        <dsp:cNvSpPr/>
      </dsp:nvSpPr>
      <dsp:spPr>
        <a:xfrm>
          <a:off x="0" y="2091"/>
          <a:ext cx="8424000" cy="1060171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F777C3F-630C-428C-BA18-999049D1292C}">
      <dsp:nvSpPr>
        <dsp:cNvPr id="0" name=""/>
        <dsp:cNvSpPr/>
      </dsp:nvSpPr>
      <dsp:spPr>
        <a:xfrm>
          <a:off x="320701" y="240630"/>
          <a:ext cx="583094" cy="583094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F419010-F8AE-4E6C-AE0D-10096D44A877}">
      <dsp:nvSpPr>
        <dsp:cNvPr id="0" name=""/>
        <dsp:cNvSpPr/>
      </dsp:nvSpPr>
      <dsp:spPr>
        <a:xfrm>
          <a:off x="1224498" y="2091"/>
          <a:ext cx="7199501" cy="106017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2202" tIns="112202" rIns="112202" bIns="112202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Steps in the Platform:</a:t>
          </a:r>
        </a:p>
      </dsp:txBody>
      <dsp:txXfrm>
        <a:off x="1224498" y="2091"/>
        <a:ext cx="7199501" cy="1060171"/>
      </dsp:txXfrm>
    </dsp:sp>
    <dsp:sp modelId="{F7F4DBE4-06A8-4DD1-AB9E-9BC361FD7486}">
      <dsp:nvSpPr>
        <dsp:cNvPr id="0" name=""/>
        <dsp:cNvSpPr/>
      </dsp:nvSpPr>
      <dsp:spPr>
        <a:xfrm>
          <a:off x="0" y="1327306"/>
          <a:ext cx="8424000" cy="1060171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0D2E855-5FFA-4551-93BA-3E3DDE62A425}">
      <dsp:nvSpPr>
        <dsp:cNvPr id="0" name=""/>
        <dsp:cNvSpPr/>
      </dsp:nvSpPr>
      <dsp:spPr>
        <a:xfrm>
          <a:off x="320701" y="1565845"/>
          <a:ext cx="583094" cy="583094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FFF1DDB-95A5-4CEC-8B3B-C60C16D384F3}">
      <dsp:nvSpPr>
        <dsp:cNvPr id="0" name=""/>
        <dsp:cNvSpPr/>
      </dsp:nvSpPr>
      <dsp:spPr>
        <a:xfrm>
          <a:off x="1224498" y="1327306"/>
          <a:ext cx="7199501" cy="106017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2202" tIns="112202" rIns="112202" bIns="112202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- Booking: Users book event slots.</a:t>
          </a:r>
        </a:p>
      </dsp:txBody>
      <dsp:txXfrm>
        <a:off x="1224498" y="1327306"/>
        <a:ext cx="7199501" cy="1060171"/>
      </dsp:txXfrm>
    </dsp:sp>
    <dsp:sp modelId="{3C81C165-0226-459E-8DEF-C9C92CE569F8}">
      <dsp:nvSpPr>
        <dsp:cNvPr id="0" name=""/>
        <dsp:cNvSpPr/>
      </dsp:nvSpPr>
      <dsp:spPr>
        <a:xfrm>
          <a:off x="0" y="2652521"/>
          <a:ext cx="8424000" cy="1060171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3374C87-B359-4EA1-A4F2-D62586860F19}">
      <dsp:nvSpPr>
        <dsp:cNvPr id="0" name=""/>
        <dsp:cNvSpPr/>
      </dsp:nvSpPr>
      <dsp:spPr>
        <a:xfrm>
          <a:off x="320701" y="2891060"/>
          <a:ext cx="583094" cy="583094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BC682E3-4B3F-41DA-878C-DF70CE3B1A30}">
      <dsp:nvSpPr>
        <dsp:cNvPr id="0" name=""/>
        <dsp:cNvSpPr/>
      </dsp:nvSpPr>
      <dsp:spPr>
        <a:xfrm>
          <a:off x="1224498" y="2652521"/>
          <a:ext cx="7199501" cy="106017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2202" tIns="112202" rIns="112202" bIns="112202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- Tracking: Admins and users monitor event statuses.</a:t>
          </a:r>
        </a:p>
      </dsp:txBody>
      <dsp:txXfrm>
        <a:off x="1224498" y="2652521"/>
        <a:ext cx="7199501" cy="1060171"/>
      </dsp:txXfrm>
    </dsp:sp>
    <dsp:sp modelId="{751A36CE-FDBD-4975-9B1A-6C8A77D42FCD}">
      <dsp:nvSpPr>
        <dsp:cNvPr id="0" name=""/>
        <dsp:cNvSpPr/>
      </dsp:nvSpPr>
      <dsp:spPr>
        <a:xfrm>
          <a:off x="0" y="3977736"/>
          <a:ext cx="8424000" cy="1060171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1024235-BB83-4D74-AB17-3C986E6B7C63}">
      <dsp:nvSpPr>
        <dsp:cNvPr id="0" name=""/>
        <dsp:cNvSpPr/>
      </dsp:nvSpPr>
      <dsp:spPr>
        <a:xfrm>
          <a:off x="320701" y="4216275"/>
          <a:ext cx="583094" cy="583094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53243D2-CA96-4C9D-8E82-A8ADFBBF1DEE}">
      <dsp:nvSpPr>
        <dsp:cNvPr id="0" name=""/>
        <dsp:cNvSpPr/>
      </dsp:nvSpPr>
      <dsp:spPr>
        <a:xfrm>
          <a:off x="1224498" y="3977736"/>
          <a:ext cx="7199501" cy="106017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2202" tIns="112202" rIns="112202" bIns="112202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- Notifications: Automatic updates for ongoing and upcoming events.</a:t>
          </a:r>
        </a:p>
      </dsp:txBody>
      <dsp:txXfrm>
        <a:off x="1224498" y="3977736"/>
        <a:ext cx="7199501" cy="1060171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1227330-6E42-4603-8E5F-A5660582C28B}">
      <dsp:nvSpPr>
        <dsp:cNvPr id="0" name=""/>
        <dsp:cNvSpPr/>
      </dsp:nvSpPr>
      <dsp:spPr>
        <a:xfrm>
          <a:off x="0" y="615"/>
          <a:ext cx="8424000" cy="1439648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FBCE9B1-2628-4A14-895C-749F7B85D463}">
      <dsp:nvSpPr>
        <dsp:cNvPr id="0" name=""/>
        <dsp:cNvSpPr/>
      </dsp:nvSpPr>
      <dsp:spPr>
        <a:xfrm>
          <a:off x="435493" y="324536"/>
          <a:ext cx="791806" cy="791806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D1D0594-DA3E-490E-9F74-9ACAFDAE1994}">
      <dsp:nvSpPr>
        <dsp:cNvPr id="0" name=""/>
        <dsp:cNvSpPr/>
      </dsp:nvSpPr>
      <dsp:spPr>
        <a:xfrm>
          <a:off x="1662793" y="615"/>
          <a:ext cx="6761206" cy="14396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363" tIns="152363" rIns="152363" bIns="152363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- Saves time with centralized event management.</a:t>
          </a:r>
        </a:p>
      </dsp:txBody>
      <dsp:txXfrm>
        <a:off x="1662793" y="615"/>
        <a:ext cx="6761206" cy="1439648"/>
      </dsp:txXfrm>
    </dsp:sp>
    <dsp:sp modelId="{1C24E1F1-0ADA-41E2-934E-E479970D59B8}">
      <dsp:nvSpPr>
        <dsp:cNvPr id="0" name=""/>
        <dsp:cNvSpPr/>
      </dsp:nvSpPr>
      <dsp:spPr>
        <a:xfrm>
          <a:off x="0" y="1800175"/>
          <a:ext cx="8424000" cy="1439648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2D49111-2950-4B3C-A4A6-8E22E5D711F6}">
      <dsp:nvSpPr>
        <dsp:cNvPr id="0" name=""/>
        <dsp:cNvSpPr/>
      </dsp:nvSpPr>
      <dsp:spPr>
        <a:xfrm>
          <a:off x="435493" y="2124096"/>
          <a:ext cx="791806" cy="791806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E35E90A-64D2-4236-9CD9-BDC39FC264E2}">
      <dsp:nvSpPr>
        <dsp:cNvPr id="0" name=""/>
        <dsp:cNvSpPr/>
      </dsp:nvSpPr>
      <dsp:spPr>
        <a:xfrm>
          <a:off x="1662793" y="1800175"/>
          <a:ext cx="6761206" cy="14396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363" tIns="152363" rIns="152363" bIns="152363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- Increases player productivity by reducing miscommunication.</a:t>
          </a:r>
        </a:p>
      </dsp:txBody>
      <dsp:txXfrm>
        <a:off x="1662793" y="1800175"/>
        <a:ext cx="6761206" cy="1439648"/>
      </dsp:txXfrm>
    </dsp:sp>
    <dsp:sp modelId="{4D1D9634-82A8-4A85-822B-33676D7BB250}">
      <dsp:nvSpPr>
        <dsp:cNvPr id="0" name=""/>
        <dsp:cNvSpPr/>
      </dsp:nvSpPr>
      <dsp:spPr>
        <a:xfrm>
          <a:off x="0" y="3599736"/>
          <a:ext cx="8424000" cy="1439648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61F6686-1855-43E5-8F49-095CCCBAFABA}">
      <dsp:nvSpPr>
        <dsp:cNvPr id="0" name=""/>
        <dsp:cNvSpPr/>
      </dsp:nvSpPr>
      <dsp:spPr>
        <a:xfrm>
          <a:off x="435493" y="3923657"/>
          <a:ext cx="791806" cy="791806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B3EDBB2-F198-407C-A4F2-6FA228DBC1FF}">
      <dsp:nvSpPr>
        <dsp:cNvPr id="0" name=""/>
        <dsp:cNvSpPr/>
      </dsp:nvSpPr>
      <dsp:spPr>
        <a:xfrm>
          <a:off x="1662793" y="3599736"/>
          <a:ext cx="6761206" cy="14396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363" tIns="152363" rIns="152363" bIns="152363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- Provides real-time updates on tournament progress.</a:t>
          </a:r>
        </a:p>
      </dsp:txBody>
      <dsp:txXfrm>
        <a:off x="1662793" y="3599736"/>
        <a:ext cx="6761206" cy="1439648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F66E31B-8454-4C64-9F94-0ABCD60983D2}">
      <dsp:nvSpPr>
        <dsp:cNvPr id="0" name=""/>
        <dsp:cNvSpPr/>
      </dsp:nvSpPr>
      <dsp:spPr>
        <a:xfrm>
          <a:off x="2827" y="2009818"/>
          <a:ext cx="1377833" cy="874924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CB90D037-D174-44A7-940D-52CCF4865651}">
      <dsp:nvSpPr>
        <dsp:cNvPr id="0" name=""/>
        <dsp:cNvSpPr/>
      </dsp:nvSpPr>
      <dsp:spPr>
        <a:xfrm>
          <a:off x="155920" y="2155256"/>
          <a:ext cx="1377833" cy="87492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- Requirements Gathering</a:t>
          </a:r>
        </a:p>
      </dsp:txBody>
      <dsp:txXfrm>
        <a:off x="181546" y="2180882"/>
        <a:ext cx="1326581" cy="823672"/>
      </dsp:txXfrm>
    </dsp:sp>
    <dsp:sp modelId="{08834876-33A5-4751-9A1A-2D79BDBBB300}">
      <dsp:nvSpPr>
        <dsp:cNvPr id="0" name=""/>
        <dsp:cNvSpPr/>
      </dsp:nvSpPr>
      <dsp:spPr>
        <a:xfrm>
          <a:off x="1686846" y="2009818"/>
          <a:ext cx="1377833" cy="874924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9FEE2FAD-CA3C-426B-B7AB-6C948931C5BD}">
      <dsp:nvSpPr>
        <dsp:cNvPr id="0" name=""/>
        <dsp:cNvSpPr/>
      </dsp:nvSpPr>
      <dsp:spPr>
        <a:xfrm>
          <a:off x="1839938" y="2155256"/>
          <a:ext cx="1377833" cy="87492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- Platform Design</a:t>
          </a:r>
        </a:p>
      </dsp:txBody>
      <dsp:txXfrm>
        <a:off x="1865564" y="2180882"/>
        <a:ext cx="1326581" cy="823672"/>
      </dsp:txXfrm>
    </dsp:sp>
    <dsp:sp modelId="{259147FF-D16D-4792-B042-95C9DA20D31D}">
      <dsp:nvSpPr>
        <dsp:cNvPr id="0" name=""/>
        <dsp:cNvSpPr/>
      </dsp:nvSpPr>
      <dsp:spPr>
        <a:xfrm>
          <a:off x="3370864" y="2009818"/>
          <a:ext cx="1377833" cy="874924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3068FFEA-68E4-4415-9ECF-AC4A31AE1B94}">
      <dsp:nvSpPr>
        <dsp:cNvPr id="0" name=""/>
        <dsp:cNvSpPr/>
      </dsp:nvSpPr>
      <dsp:spPr>
        <a:xfrm>
          <a:off x="3523957" y="2155256"/>
          <a:ext cx="1377833" cy="87492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- Development Phase</a:t>
          </a:r>
        </a:p>
      </dsp:txBody>
      <dsp:txXfrm>
        <a:off x="3549583" y="2180882"/>
        <a:ext cx="1326581" cy="823672"/>
      </dsp:txXfrm>
    </dsp:sp>
    <dsp:sp modelId="{8C18F8F5-CDBE-4A23-B281-363FA5A90D7A}">
      <dsp:nvSpPr>
        <dsp:cNvPr id="0" name=""/>
        <dsp:cNvSpPr/>
      </dsp:nvSpPr>
      <dsp:spPr>
        <a:xfrm>
          <a:off x="5054883" y="2009818"/>
          <a:ext cx="1377833" cy="874924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B9E75D9A-696E-4B08-A604-2AC7A9C4EF47}">
      <dsp:nvSpPr>
        <dsp:cNvPr id="0" name=""/>
        <dsp:cNvSpPr/>
      </dsp:nvSpPr>
      <dsp:spPr>
        <a:xfrm>
          <a:off x="5207976" y="2155256"/>
          <a:ext cx="1377833" cy="87492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- Testing and Bug Fixing</a:t>
          </a:r>
        </a:p>
      </dsp:txBody>
      <dsp:txXfrm>
        <a:off x="5233602" y="2180882"/>
        <a:ext cx="1326581" cy="823672"/>
      </dsp:txXfrm>
    </dsp:sp>
    <dsp:sp modelId="{B9DE12B4-A484-48C6-A642-8011C7A7ACBA}">
      <dsp:nvSpPr>
        <dsp:cNvPr id="0" name=""/>
        <dsp:cNvSpPr/>
      </dsp:nvSpPr>
      <dsp:spPr>
        <a:xfrm>
          <a:off x="6738902" y="2009818"/>
          <a:ext cx="1377833" cy="874924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B1720148-6788-4092-9EBE-3CEECB738720}">
      <dsp:nvSpPr>
        <dsp:cNvPr id="0" name=""/>
        <dsp:cNvSpPr/>
      </dsp:nvSpPr>
      <dsp:spPr>
        <a:xfrm>
          <a:off x="6891994" y="2155256"/>
          <a:ext cx="1377833" cy="87492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- Deployment and Launch</a:t>
          </a:r>
        </a:p>
      </dsp:txBody>
      <dsp:txXfrm>
        <a:off x="6917620" y="2180882"/>
        <a:ext cx="1326581" cy="823672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7100284-9DDA-46EE-8586-86C84D842F99}">
      <dsp:nvSpPr>
        <dsp:cNvPr id="0" name=""/>
        <dsp:cNvSpPr/>
      </dsp:nvSpPr>
      <dsp:spPr>
        <a:xfrm>
          <a:off x="0" y="3937"/>
          <a:ext cx="8424000" cy="838687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2B6523D-D0EC-4E66-B13F-138A0F2F76F6}">
      <dsp:nvSpPr>
        <dsp:cNvPr id="0" name=""/>
        <dsp:cNvSpPr/>
      </dsp:nvSpPr>
      <dsp:spPr>
        <a:xfrm>
          <a:off x="253702" y="192642"/>
          <a:ext cx="461278" cy="461278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EC4FB19-163D-4FE0-AA66-CC0117F6854B}">
      <dsp:nvSpPr>
        <dsp:cNvPr id="0" name=""/>
        <dsp:cNvSpPr/>
      </dsp:nvSpPr>
      <dsp:spPr>
        <a:xfrm>
          <a:off x="968684" y="3937"/>
          <a:ext cx="7455315" cy="83868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761" tIns="88761" rIns="88761" bIns="88761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Summary:</a:t>
          </a:r>
        </a:p>
      </dsp:txBody>
      <dsp:txXfrm>
        <a:off x="968684" y="3937"/>
        <a:ext cx="7455315" cy="838687"/>
      </dsp:txXfrm>
    </dsp:sp>
    <dsp:sp modelId="{40968B80-FDFF-4C03-B376-F20078492C35}">
      <dsp:nvSpPr>
        <dsp:cNvPr id="0" name=""/>
        <dsp:cNvSpPr/>
      </dsp:nvSpPr>
      <dsp:spPr>
        <a:xfrm>
          <a:off x="0" y="1052296"/>
          <a:ext cx="8424000" cy="838687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40150EE-9D33-4E49-B288-F782DF843671}">
      <dsp:nvSpPr>
        <dsp:cNvPr id="0" name=""/>
        <dsp:cNvSpPr/>
      </dsp:nvSpPr>
      <dsp:spPr>
        <a:xfrm>
          <a:off x="253702" y="1241001"/>
          <a:ext cx="461278" cy="461278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F564463-28FD-4B0D-BCD6-26A8581CC028}">
      <dsp:nvSpPr>
        <dsp:cNvPr id="0" name=""/>
        <dsp:cNvSpPr/>
      </dsp:nvSpPr>
      <dsp:spPr>
        <a:xfrm>
          <a:off x="968684" y="1052296"/>
          <a:ext cx="7455315" cy="83868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761" tIns="88761" rIns="88761" bIns="88761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The ZF Sportify platform simplifies tournament management by providing a one-stop solution.</a:t>
          </a:r>
        </a:p>
      </dsp:txBody>
      <dsp:txXfrm>
        <a:off x="968684" y="1052296"/>
        <a:ext cx="7455315" cy="838687"/>
      </dsp:txXfrm>
    </dsp:sp>
    <dsp:sp modelId="{8D13018F-4074-4A8D-8F4B-3F90F64A60CC}">
      <dsp:nvSpPr>
        <dsp:cNvPr id="0" name=""/>
        <dsp:cNvSpPr/>
      </dsp:nvSpPr>
      <dsp:spPr>
        <a:xfrm>
          <a:off x="0" y="2100656"/>
          <a:ext cx="8424000" cy="838687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AA72178-37C3-495F-B40A-6D985D78E261}">
      <dsp:nvSpPr>
        <dsp:cNvPr id="0" name=""/>
        <dsp:cNvSpPr/>
      </dsp:nvSpPr>
      <dsp:spPr>
        <a:xfrm>
          <a:off x="253702" y="2289360"/>
          <a:ext cx="461278" cy="461278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E215D2D-A80F-4732-B7E4-18E88A725605}">
      <dsp:nvSpPr>
        <dsp:cNvPr id="0" name=""/>
        <dsp:cNvSpPr/>
      </dsp:nvSpPr>
      <dsp:spPr>
        <a:xfrm>
          <a:off x="968684" y="2100656"/>
          <a:ext cx="7455315" cy="83868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761" tIns="88761" rIns="88761" bIns="88761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Next Steps:</a:t>
          </a:r>
        </a:p>
      </dsp:txBody>
      <dsp:txXfrm>
        <a:off x="968684" y="2100656"/>
        <a:ext cx="7455315" cy="838687"/>
      </dsp:txXfrm>
    </dsp:sp>
    <dsp:sp modelId="{12FD2BBF-E85B-4F5D-B900-8E159CFB46CC}">
      <dsp:nvSpPr>
        <dsp:cNvPr id="0" name=""/>
        <dsp:cNvSpPr/>
      </dsp:nvSpPr>
      <dsp:spPr>
        <a:xfrm>
          <a:off x="0" y="3149015"/>
          <a:ext cx="8424000" cy="838687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4D4628E-5507-40BD-86CA-382A92AED607}">
      <dsp:nvSpPr>
        <dsp:cNvPr id="0" name=""/>
        <dsp:cNvSpPr/>
      </dsp:nvSpPr>
      <dsp:spPr>
        <a:xfrm>
          <a:off x="253702" y="3337720"/>
          <a:ext cx="461278" cy="461278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3D16F56-0516-4602-89E4-FFC891DA0588}">
      <dsp:nvSpPr>
        <dsp:cNvPr id="0" name=""/>
        <dsp:cNvSpPr/>
      </dsp:nvSpPr>
      <dsp:spPr>
        <a:xfrm>
          <a:off x="968684" y="3149015"/>
          <a:ext cx="7455315" cy="83868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761" tIns="88761" rIns="88761" bIns="88761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- Further development for scalability.</a:t>
          </a:r>
        </a:p>
      </dsp:txBody>
      <dsp:txXfrm>
        <a:off x="968684" y="3149015"/>
        <a:ext cx="7455315" cy="838687"/>
      </dsp:txXfrm>
    </dsp:sp>
    <dsp:sp modelId="{EE00E6CC-C6FD-4E49-A9F5-B2AC1BEBDE57}">
      <dsp:nvSpPr>
        <dsp:cNvPr id="0" name=""/>
        <dsp:cNvSpPr/>
      </dsp:nvSpPr>
      <dsp:spPr>
        <a:xfrm>
          <a:off x="0" y="4197375"/>
          <a:ext cx="8424000" cy="838687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5A45FB8-7FFA-42E5-87F3-C302A492F6AA}">
      <dsp:nvSpPr>
        <dsp:cNvPr id="0" name=""/>
        <dsp:cNvSpPr/>
      </dsp:nvSpPr>
      <dsp:spPr>
        <a:xfrm>
          <a:off x="253702" y="4386079"/>
          <a:ext cx="461278" cy="461278"/>
        </a:xfrm>
        <a:prstGeom prst="rect">
          <a:avLst/>
        </a:prstGeom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01A6CC1-F719-4EC4-94AF-EEE0CDD2AC23}">
      <dsp:nvSpPr>
        <dsp:cNvPr id="0" name=""/>
        <dsp:cNvSpPr/>
      </dsp:nvSpPr>
      <dsp:spPr>
        <a:xfrm>
          <a:off x="968684" y="4197375"/>
          <a:ext cx="7455315" cy="83868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761" tIns="88761" rIns="88761" bIns="88761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- Plan for cloud hosting and broader deployment.</a:t>
          </a:r>
        </a:p>
      </dsp:txBody>
      <dsp:txXfrm>
        <a:off x="968684" y="4197375"/>
        <a:ext cx="7455315" cy="838687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F7195DD-3A95-475E-827F-0AA140B7ED15}">
      <dsp:nvSpPr>
        <dsp:cNvPr id="0" name=""/>
        <dsp:cNvSpPr/>
      </dsp:nvSpPr>
      <dsp:spPr>
        <a:xfrm>
          <a:off x="184274" y="2671"/>
          <a:ext cx="2517328" cy="151039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/>
            <a:t>❖Group Booking</a:t>
          </a:r>
        </a:p>
      </dsp:txBody>
      <dsp:txXfrm>
        <a:off x="184274" y="2671"/>
        <a:ext cx="2517328" cy="1510396"/>
      </dsp:txXfrm>
    </dsp:sp>
    <dsp:sp modelId="{ADCB4756-3638-408C-8CC7-9C563FC9B2E4}">
      <dsp:nvSpPr>
        <dsp:cNvPr id="0" name=""/>
        <dsp:cNvSpPr/>
      </dsp:nvSpPr>
      <dsp:spPr>
        <a:xfrm>
          <a:off x="2953335" y="2671"/>
          <a:ext cx="2517328" cy="151039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⮚Location (Date and Venue)</a:t>
          </a:r>
        </a:p>
      </dsp:txBody>
      <dsp:txXfrm>
        <a:off x="2953335" y="2671"/>
        <a:ext cx="2517328" cy="1510396"/>
      </dsp:txXfrm>
    </dsp:sp>
    <dsp:sp modelId="{D8D583BC-33A2-4F71-8707-7A2BFCE2348D}">
      <dsp:nvSpPr>
        <dsp:cNvPr id="0" name=""/>
        <dsp:cNvSpPr/>
      </dsp:nvSpPr>
      <dsp:spPr>
        <a:xfrm>
          <a:off x="5722396" y="2671"/>
          <a:ext cx="2517328" cy="151039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⮚Team members , Volunteers, Jury</a:t>
          </a:r>
        </a:p>
      </dsp:txBody>
      <dsp:txXfrm>
        <a:off x="5722396" y="2671"/>
        <a:ext cx="2517328" cy="1510396"/>
      </dsp:txXfrm>
    </dsp:sp>
    <dsp:sp modelId="{23CA40D4-70F7-4685-94E7-8E549E2D9479}">
      <dsp:nvSpPr>
        <dsp:cNvPr id="0" name=""/>
        <dsp:cNvSpPr/>
      </dsp:nvSpPr>
      <dsp:spPr>
        <a:xfrm>
          <a:off x="184274" y="1764801"/>
          <a:ext cx="2517328" cy="151039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/>
            <a:t>⮚Other important info</a:t>
          </a:r>
        </a:p>
      </dsp:txBody>
      <dsp:txXfrm>
        <a:off x="184274" y="1764801"/>
        <a:ext cx="2517328" cy="1510396"/>
      </dsp:txXfrm>
    </dsp:sp>
    <dsp:sp modelId="{638A250F-34CE-4211-AE41-871421B4010E}">
      <dsp:nvSpPr>
        <dsp:cNvPr id="0" name=""/>
        <dsp:cNvSpPr/>
      </dsp:nvSpPr>
      <dsp:spPr>
        <a:xfrm>
          <a:off x="2953335" y="1764801"/>
          <a:ext cx="2517328" cy="151039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⮚Live scores</a:t>
          </a:r>
        </a:p>
      </dsp:txBody>
      <dsp:txXfrm>
        <a:off x="2953335" y="1764801"/>
        <a:ext cx="2517328" cy="1510396"/>
      </dsp:txXfrm>
    </dsp:sp>
    <dsp:sp modelId="{8C8C0FDF-C8FA-4681-8056-453AED5798AF}">
      <dsp:nvSpPr>
        <dsp:cNvPr id="0" name=""/>
        <dsp:cNvSpPr/>
      </dsp:nvSpPr>
      <dsp:spPr>
        <a:xfrm>
          <a:off x="5722396" y="1764801"/>
          <a:ext cx="2517328" cy="151039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⮚Pictures or gallery</a:t>
          </a:r>
        </a:p>
      </dsp:txBody>
      <dsp:txXfrm>
        <a:off x="5722396" y="1764801"/>
        <a:ext cx="2517328" cy="1510396"/>
      </dsp:txXfrm>
    </dsp:sp>
    <dsp:sp modelId="{3B1C5911-CEB4-4A95-8CD0-301D920983F2}">
      <dsp:nvSpPr>
        <dsp:cNvPr id="0" name=""/>
        <dsp:cNvSpPr/>
      </dsp:nvSpPr>
      <dsp:spPr>
        <a:xfrm>
          <a:off x="1568805" y="3526931"/>
          <a:ext cx="2517328" cy="151039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/>
            <a:t>⮚Post event update status</a:t>
          </a:r>
        </a:p>
      </dsp:txBody>
      <dsp:txXfrm>
        <a:off x="1568805" y="3526931"/>
        <a:ext cx="2517328" cy="1510396"/>
      </dsp:txXfrm>
    </dsp:sp>
    <dsp:sp modelId="{9AE5EFD2-9C07-4D35-A199-A8301AA859EB}">
      <dsp:nvSpPr>
        <dsp:cNvPr id="0" name=""/>
        <dsp:cNvSpPr/>
      </dsp:nvSpPr>
      <dsp:spPr>
        <a:xfrm>
          <a:off x="4337866" y="3526931"/>
          <a:ext cx="2517328" cy="151039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/>
            <a:t>⮚Social Connect</a:t>
          </a:r>
        </a:p>
      </dsp:txBody>
      <dsp:txXfrm>
        <a:off x="4337866" y="3526931"/>
        <a:ext cx="2517328" cy="151039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F065F6-BCE8-4B1E-BF09-886D93FA4E27}" type="datetimeFigureOut">
              <a:rPr lang="en-US" smtClean="0"/>
              <a:t>11/22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8F78DD-E108-49AB-855F-FC1BFA70C92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81378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bildplatzhalter 2"/>
          <p:cNvSpPr>
            <a:spLocks noGrp="1" noRot="1" noChangeAspect="1"/>
          </p:cNvSpPr>
          <p:nvPr>
            <p:ph type="sldImg"/>
          </p:nvPr>
        </p:nvSpPr>
        <p:spPr>
          <a:xfrm>
            <a:off x="1123950" y="360363"/>
            <a:ext cx="4592638" cy="3443287"/>
          </a:xfrm>
        </p:spPr>
      </p:sp>
      <p:sp>
        <p:nvSpPr>
          <p:cNvPr id="5" name="Notizenplatzhalt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1B4C21-2AF8-4513-9A88-12DEBB551087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16513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0" y="0"/>
            <a:ext cx="9144000" cy="6859200"/>
          </a:xfrm>
          <a:prstGeom prst="rect">
            <a:avLst/>
          </a:prstGeom>
          <a:gradFill>
            <a:gsLst>
              <a:gs pos="0">
                <a:srgbClr val="1179BF"/>
              </a:gs>
              <a:gs pos="50000">
                <a:srgbClr val="004D7A"/>
              </a:gs>
              <a:gs pos="100000">
                <a:srgbClr val="001024"/>
              </a:gs>
            </a:gsLst>
            <a:lin ang="5400000" scaled="0"/>
          </a:gra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90000" rIns="9000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ct val="0"/>
              </a:spcAft>
            </a:pPr>
            <a:endParaRPr lang="de-DE" sz="1200" dirty="0" err="1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59999" y="1979845"/>
            <a:ext cx="8424000" cy="1410643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0" y="0"/>
            <a:ext cx="3600" cy="4799"/>
          </a:xfrm>
        </p:spPr>
        <p:txBody>
          <a:bodyPr/>
          <a:lstStyle>
            <a:lvl1pPr marL="0" indent="0" algn="ctr">
              <a:buNone/>
              <a:defRPr sz="1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59999" y="3639908"/>
            <a:ext cx="8424000" cy="336000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998" y="584200"/>
            <a:ext cx="864000" cy="11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61599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2"/>
          </p:nvPr>
        </p:nvSpPr>
        <p:spPr>
          <a:xfrm>
            <a:off x="0" y="1152002"/>
            <a:ext cx="9144000" cy="5040000"/>
          </a:xfrm>
          <a:solidFill>
            <a:schemeClr val="bg2"/>
          </a:solidFill>
        </p:spPr>
        <p:txBody>
          <a:bodyPr vert="horz" lIns="0" tIns="0" rIns="0" bIns="0" rtlCol="0">
            <a:noAutofit/>
          </a:bodyPr>
          <a:lstStyle>
            <a:lvl1pPr>
              <a:defRPr lang="de-DE"/>
            </a:lvl1pPr>
          </a:lstStyle>
          <a:p>
            <a:pPr lvl="0"/>
            <a:r>
              <a:rPr lang="en-US"/>
              <a:t>Click icon to add picture</a:t>
            </a:r>
            <a:endParaRPr lang="de-DE"/>
          </a:p>
        </p:txBody>
      </p:sp>
      <p:sp>
        <p:nvSpPr>
          <p:cNvPr id="11" name="Textfeld 13"/>
          <p:cNvSpPr txBox="1">
            <a:spLocks noChangeArrowheads="1"/>
          </p:cNvSpPr>
          <p:nvPr/>
        </p:nvSpPr>
        <p:spPr bwMode="auto">
          <a:xfrm>
            <a:off x="-2188873" y="0"/>
            <a:ext cx="2103150" cy="3119999"/>
          </a:xfrm>
          <a:prstGeom prst="rect">
            <a:avLst/>
          </a:prstGeom>
          <a:solidFill>
            <a:srgbClr val="DD0C29"/>
          </a:solidFill>
          <a:ln>
            <a:noFill/>
          </a:ln>
        </p:spPr>
        <p:txBody>
          <a:bodyPr wrap="square" lIns="35996" tIns="35996" rIns="35996" bIns="35996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1000" b="1" dirty="0">
                <a:solidFill>
                  <a:srgbClr val="FFFFFF"/>
                </a:solidFill>
                <a:cs typeface="Tahoma" charset="0"/>
              </a:rPr>
              <a:t>Bearbeitungshinweis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800" dirty="0">
                <a:solidFill>
                  <a:srgbClr val="FFFFFF"/>
                </a:solidFill>
                <a:cs typeface="Tahoma" charset="0"/>
              </a:rPr>
              <a:t>Klicken Sie auf das Symbol im Platzhalter und wählen Sie ein Bild aus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800" dirty="0">
                <a:solidFill>
                  <a:srgbClr val="FFFFFF"/>
                </a:solidFill>
                <a:cs typeface="Tahoma" charset="0"/>
              </a:rPr>
              <a:t>Sofern das Bild nicht der Größe des Bildplatzhalters entspricht und somit nicht richtig zugeschnitten ist, gehen Sie bitte wie folgt vor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800" dirty="0">
                <a:solidFill>
                  <a:srgbClr val="FFFFFF"/>
                </a:solidFill>
                <a:cs typeface="Tahoma" charset="0"/>
              </a:rPr>
              <a:t>Gehen Sie mit der Maus auf das Bild -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800" dirty="0">
                <a:solidFill>
                  <a:srgbClr val="FFFFFF"/>
                </a:solidFill>
                <a:cs typeface="Tahoma" charset="0"/>
              </a:rPr>
              <a:t>Klicken Sie auf die rechte Maustaste und wählen Sie „Grafik formatieren“ aus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800" dirty="0">
                <a:solidFill>
                  <a:srgbClr val="FFFFFF"/>
                </a:solidFill>
                <a:cs typeface="Tahoma" charset="0"/>
              </a:rPr>
              <a:t>Wählen Sie dann „Zuschneiden“. Unter „Bildposition“ – X-Offset und Y-Offset können Sie nun den gewünschten Ausschnitt bestimmen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800" dirty="0">
                <a:solidFill>
                  <a:srgbClr val="FFFFFF"/>
                </a:solidFill>
                <a:cs typeface="Tahoma" charset="0"/>
              </a:rPr>
              <a:t>Mit positiven Werten wird das Bild nach unten bzw. nach rechts verschoben. Mit negativen Werten hingegen nach oben bzw. links.</a:t>
            </a:r>
            <a:endParaRPr lang="en-US" sz="900" dirty="0">
              <a:solidFill>
                <a:srgbClr val="FFFFFF"/>
              </a:solidFill>
              <a:cs typeface="Tahoma" charset="0"/>
            </a:endParaRPr>
          </a:p>
        </p:txBody>
      </p:sp>
      <p:sp>
        <p:nvSpPr>
          <p:cNvPr id="12" name="Textfeld 14"/>
          <p:cNvSpPr txBox="1">
            <a:spLocks noChangeArrowheads="1"/>
          </p:cNvSpPr>
          <p:nvPr/>
        </p:nvSpPr>
        <p:spPr bwMode="auto">
          <a:xfrm>
            <a:off x="-2188873" y="3205260"/>
            <a:ext cx="2103150" cy="3119999"/>
          </a:xfrm>
          <a:prstGeom prst="rect">
            <a:avLst/>
          </a:prstGeom>
          <a:solidFill>
            <a:srgbClr val="DD0C29"/>
          </a:solidFill>
          <a:ln>
            <a:noFill/>
          </a:ln>
        </p:spPr>
        <p:txBody>
          <a:bodyPr wrap="square" lIns="35996" tIns="35996" rIns="35996" bIns="35996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1000" b="1" dirty="0">
                <a:solidFill>
                  <a:srgbClr val="FFFFFF"/>
                </a:solidFill>
                <a:cs typeface="Tahoma" charset="0"/>
              </a:rPr>
              <a:t>Handling </a:t>
            </a:r>
            <a:r>
              <a:rPr lang="de-DE" sz="1000" b="1" dirty="0" err="1">
                <a:solidFill>
                  <a:srgbClr val="FFFFFF"/>
                </a:solidFill>
                <a:cs typeface="Tahoma" charset="0"/>
              </a:rPr>
              <a:t>instructions</a:t>
            </a:r>
            <a:r>
              <a:rPr lang="de-DE" sz="1000" b="1" dirty="0">
                <a:solidFill>
                  <a:srgbClr val="FFFFFF"/>
                </a:solidFill>
                <a:cs typeface="Tahoma" charset="0"/>
              </a:rPr>
              <a:t>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FFFFFF"/>
                </a:solidFill>
                <a:cs typeface="Tahoma" charset="0"/>
              </a:rPr>
              <a:t>Click on the symbol in the place holder and select an image. If the image does not have the same size as the place holder, please follow this instruction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FFFFFF"/>
                </a:solidFill>
                <a:cs typeface="Tahoma" charset="0"/>
              </a:rPr>
              <a:t>Move the computer mouse on the picture – right-click and choose “Format Picture”. Then select “Crop”. Edit “Picture Position” – Offset X and Offset Y to determine the appropriate section. 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FFFFFF"/>
                </a:solidFill>
                <a:cs typeface="Tahoma" charset="0"/>
              </a:rPr>
              <a:t>With positive values you can move the picture down and to the right, with negative values up and to the left.</a:t>
            </a:r>
          </a:p>
        </p:txBody>
      </p:sp>
    </p:spTree>
    <p:extLst>
      <p:ext uri="{BB962C8B-B14F-4D97-AF65-F5344CB8AC3E}">
        <p14:creationId xmlns:p14="http://schemas.microsoft.com/office/powerpoint/2010/main" val="17486082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410689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39174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/>
        </p:nvSpPr>
        <p:spPr>
          <a:xfrm>
            <a:off x="0" y="0"/>
            <a:ext cx="9144000" cy="6859200"/>
          </a:xfrm>
          <a:prstGeom prst="rect">
            <a:avLst/>
          </a:prstGeom>
          <a:gradFill>
            <a:gsLst>
              <a:gs pos="0">
                <a:srgbClr val="1179BF"/>
              </a:gs>
              <a:gs pos="50000">
                <a:srgbClr val="004D7A"/>
              </a:gs>
              <a:gs pos="100000">
                <a:srgbClr val="001024"/>
              </a:gs>
            </a:gsLst>
            <a:lin ang="5400000" scaled="0"/>
          </a:gra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90000" rIns="9000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ct val="0"/>
              </a:spcAft>
            </a:pPr>
            <a:endParaRPr lang="de-DE" sz="1200" dirty="0" err="1">
              <a:solidFill>
                <a:srgbClr val="000000"/>
              </a:solidFill>
              <a:cs typeface="Tahoma" pitchFamily="34" charset="0"/>
            </a:endParaRPr>
          </a:p>
        </p:txBody>
      </p:sp>
      <p:grpSp>
        <p:nvGrpSpPr>
          <p:cNvPr id="2" name="Gruppieren 1"/>
          <p:cNvGrpSpPr/>
          <p:nvPr/>
        </p:nvGrpSpPr>
        <p:grpSpPr>
          <a:xfrm>
            <a:off x="360002" y="6296401"/>
            <a:ext cx="8424000" cy="488471"/>
            <a:chOff x="360001" y="4722299"/>
            <a:chExt cx="8424000" cy="366353"/>
          </a:xfrm>
        </p:grpSpPr>
        <p:sp>
          <p:nvSpPr>
            <p:cNvPr id="14" name="Text Box 10"/>
            <p:cNvSpPr txBox="1">
              <a:spLocks noChangeArrowheads="1"/>
            </p:cNvSpPr>
            <p:nvPr/>
          </p:nvSpPr>
          <p:spPr bwMode="black">
            <a:xfrm>
              <a:off x="7607032" y="4909883"/>
              <a:ext cx="900000" cy="695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algn="r" fontAlgn="base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de-DE" sz="600" dirty="0">
                  <a:solidFill>
                    <a:srgbClr val="FFFFFF"/>
                  </a:solidFill>
                </a:rPr>
                <a:t>© ZF Friedrichshafen AG</a:t>
              </a:r>
            </a:p>
          </p:txBody>
        </p:sp>
        <p:cxnSp>
          <p:nvCxnSpPr>
            <p:cNvPr id="15" name="Gerade Verbindung 14"/>
            <p:cNvCxnSpPr/>
            <p:nvPr/>
          </p:nvCxnSpPr>
          <p:spPr>
            <a:xfrm>
              <a:off x="360001" y="4722299"/>
              <a:ext cx="8424000" cy="53"/>
            </a:xfrm>
            <a:prstGeom prst="line">
              <a:avLst/>
            </a:prstGeom>
            <a:ln w="19050" cap="rnd">
              <a:solidFill>
                <a:schemeClr val="bg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2" name="Grafik 11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0001" y="4800652"/>
              <a:ext cx="288000" cy="288000"/>
            </a:xfrm>
            <a:prstGeom prst="rect">
              <a:avLst/>
            </a:prstGeom>
          </p:spPr>
        </p:pic>
      </p:grpSp>
      <p:sp>
        <p:nvSpPr>
          <p:cNvPr id="22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929391" y="6520870"/>
            <a:ext cx="5220000" cy="1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3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8604001" y="6520870"/>
            <a:ext cx="180000" cy="1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24" name="Textplatzhalter 13"/>
          <p:cNvSpPr>
            <a:spLocks noGrp="1"/>
          </p:cNvSpPr>
          <p:nvPr>
            <p:ph type="body" sz="quarter" idx="12"/>
          </p:nvPr>
        </p:nvSpPr>
        <p:spPr>
          <a:xfrm>
            <a:off x="360002" y="432856"/>
            <a:ext cx="1279615" cy="1410643"/>
          </a:xfrm>
        </p:spPr>
        <p:txBody>
          <a:bodyPr wrap="none" lIns="0" tIns="0" rIns="0" bIns="0">
            <a:noAutofit/>
          </a:bodyPr>
          <a:lstStyle>
            <a:lvl1pPr>
              <a:defRPr lang="de-DE" sz="7200" b="1" kern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359999" y="1784790"/>
            <a:ext cx="8424000" cy="615554"/>
          </a:xfrm>
          <a:noFill/>
        </p:spPr>
        <p:txBody>
          <a:bodyPr wrap="square" lIns="0" tIns="0" rIns="0" bIns="0" rtlCol="0">
            <a:noAutofit/>
          </a:bodyPr>
          <a:lstStyle>
            <a:lvl1pPr>
              <a:defRPr lang="de-DE" sz="3000" b="1" kern="1200" dirty="0">
                <a:solidFill>
                  <a:schemeClr val="bg1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8969979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and Closing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/>
        </p:nvSpPr>
        <p:spPr>
          <a:xfrm>
            <a:off x="0" y="0"/>
            <a:ext cx="9144000" cy="6859200"/>
          </a:xfrm>
          <a:prstGeom prst="rect">
            <a:avLst/>
          </a:prstGeom>
          <a:gradFill>
            <a:gsLst>
              <a:gs pos="0">
                <a:srgbClr val="1179BF"/>
              </a:gs>
              <a:gs pos="50000">
                <a:srgbClr val="004D7A"/>
              </a:gs>
              <a:gs pos="100000">
                <a:srgbClr val="001024"/>
              </a:gs>
            </a:gsLst>
            <a:lin ang="5400000" scaled="0"/>
          </a:gra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90000" rIns="9000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ct val="0"/>
              </a:spcAft>
            </a:pPr>
            <a:endParaRPr lang="de-DE" sz="1200" dirty="0" err="1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2"/>
          </p:nvPr>
        </p:nvSpPr>
        <p:spPr>
          <a:xfrm>
            <a:off x="360001" y="584200"/>
            <a:ext cx="6706589" cy="1410643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600" b="1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929391" y="6520870"/>
            <a:ext cx="5220000" cy="1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8604001" y="6520870"/>
            <a:ext cx="180000" cy="1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grpSp>
        <p:nvGrpSpPr>
          <p:cNvPr id="16" name="Gruppieren 15"/>
          <p:cNvGrpSpPr/>
          <p:nvPr/>
        </p:nvGrpSpPr>
        <p:grpSpPr>
          <a:xfrm>
            <a:off x="360002" y="6296401"/>
            <a:ext cx="8424000" cy="488471"/>
            <a:chOff x="360001" y="4722299"/>
            <a:chExt cx="8424000" cy="366353"/>
          </a:xfrm>
        </p:grpSpPr>
        <p:sp>
          <p:nvSpPr>
            <p:cNvPr id="17" name="Text Box 10"/>
            <p:cNvSpPr txBox="1">
              <a:spLocks noChangeArrowheads="1"/>
            </p:cNvSpPr>
            <p:nvPr/>
          </p:nvSpPr>
          <p:spPr bwMode="black">
            <a:xfrm>
              <a:off x="7607032" y="4909883"/>
              <a:ext cx="900000" cy="695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algn="r" fontAlgn="base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de-DE" sz="600" dirty="0">
                  <a:solidFill>
                    <a:srgbClr val="FFFFFF"/>
                  </a:solidFill>
                </a:rPr>
                <a:t>© ZF Friedrichshafen AG</a:t>
              </a:r>
            </a:p>
          </p:txBody>
        </p:sp>
        <p:cxnSp>
          <p:nvCxnSpPr>
            <p:cNvPr id="20" name="Gerade Verbindung 19"/>
            <p:cNvCxnSpPr/>
            <p:nvPr/>
          </p:nvCxnSpPr>
          <p:spPr>
            <a:xfrm>
              <a:off x="360001" y="4722299"/>
              <a:ext cx="8424000" cy="53"/>
            </a:xfrm>
            <a:prstGeom prst="line">
              <a:avLst/>
            </a:prstGeom>
            <a:ln w="19050" cap="rnd">
              <a:solidFill>
                <a:schemeClr val="bg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1" name="Grafik 20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0001" y="4800652"/>
              <a:ext cx="288000" cy="28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835667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0" y="0"/>
            <a:ext cx="9144000" cy="6859200"/>
          </a:xfrm>
          <a:prstGeom prst="rect">
            <a:avLst/>
          </a:prstGeom>
          <a:gradFill>
            <a:gsLst>
              <a:gs pos="0">
                <a:srgbClr val="1179BF"/>
              </a:gs>
              <a:gs pos="50000">
                <a:srgbClr val="004D7A"/>
              </a:gs>
              <a:gs pos="100000">
                <a:srgbClr val="001024"/>
              </a:gs>
            </a:gsLst>
            <a:lin ang="5400000" scaled="0"/>
          </a:gra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90000" rIns="9000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ct val="0"/>
              </a:spcAft>
            </a:pPr>
            <a:endParaRPr lang="de-DE" sz="1200" dirty="0" err="1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grpSp>
        <p:nvGrpSpPr>
          <p:cNvPr id="8" name="Gruppieren 7"/>
          <p:cNvGrpSpPr/>
          <p:nvPr/>
        </p:nvGrpSpPr>
        <p:grpSpPr>
          <a:xfrm>
            <a:off x="360002" y="6296401"/>
            <a:ext cx="8424000" cy="488471"/>
            <a:chOff x="360001" y="4722299"/>
            <a:chExt cx="8424000" cy="366353"/>
          </a:xfrm>
        </p:grpSpPr>
        <p:sp>
          <p:nvSpPr>
            <p:cNvPr id="9" name="Text Box 10"/>
            <p:cNvSpPr txBox="1">
              <a:spLocks noChangeArrowheads="1"/>
            </p:cNvSpPr>
            <p:nvPr/>
          </p:nvSpPr>
          <p:spPr bwMode="black">
            <a:xfrm>
              <a:off x="7607032" y="4909883"/>
              <a:ext cx="900000" cy="695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algn="r" fontAlgn="base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de-DE" sz="600" dirty="0">
                  <a:solidFill>
                    <a:srgbClr val="FFFFFF"/>
                  </a:solidFill>
                </a:rPr>
                <a:t>© ZF Friedrichshafen AG</a:t>
              </a:r>
            </a:p>
          </p:txBody>
        </p:sp>
        <p:cxnSp>
          <p:nvCxnSpPr>
            <p:cNvPr id="10" name="Gerade Verbindung 9"/>
            <p:cNvCxnSpPr/>
            <p:nvPr/>
          </p:nvCxnSpPr>
          <p:spPr>
            <a:xfrm>
              <a:off x="360001" y="4722299"/>
              <a:ext cx="8424000" cy="53"/>
            </a:xfrm>
            <a:prstGeom prst="line">
              <a:avLst/>
            </a:prstGeom>
            <a:ln w="19050" cap="rnd">
              <a:solidFill>
                <a:schemeClr val="bg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1" name="Grafik 10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0001" y="4800652"/>
              <a:ext cx="288000" cy="288000"/>
            </a:xfrm>
            <a:prstGeom prst="rect">
              <a:avLst/>
            </a:prstGeom>
          </p:spPr>
        </p:pic>
      </p:grpSp>
      <p:sp>
        <p:nvSpPr>
          <p:cNvPr id="12" name="tk_24">
            <a:extLst>
              <a:ext uri="{FF2B5EF4-FFF2-40B4-BE49-F238E27FC236}">
                <a16:creationId xmlns:a16="http://schemas.microsoft.com/office/drawing/2014/main" id="{7610BEED-2F24-48E1-A70F-D1C9CF3BE6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-2854672" y="-20472"/>
            <a:ext cx="2772000" cy="2591200"/>
          </a:xfrm>
          <a:prstGeom prst="rect">
            <a:avLst/>
          </a:prstGeom>
          <a:solidFill>
            <a:srgbClr val="DD0C29"/>
          </a:solidFill>
          <a:ln>
            <a:noFill/>
          </a:ln>
          <a:effectLst/>
        </p:spPr>
        <p:txBody>
          <a:bodyPr lIns="90000" tIns="90000" rIns="90000" bIns="90000" anchor="ctr"/>
          <a:lstStyle/>
          <a:p>
            <a:pPr>
              <a:spcAft>
                <a:spcPts val="300"/>
              </a:spcAft>
              <a:buClr>
                <a:srgbClr val="00ABE7"/>
              </a:buClr>
              <a:buSzPct val="100000"/>
            </a:pPr>
            <a:r>
              <a:rPr lang="de-DE" sz="1200" b="1" dirty="0">
                <a:solidFill>
                  <a:schemeClr val="bg1"/>
                </a:solidFill>
                <a:latin typeface="Tahoma" panose="020B0604030504040204" pitchFamily="34" charset="0"/>
              </a:rPr>
              <a:t>Wichtiger Hinweis:</a:t>
            </a:r>
          </a:p>
          <a:p>
            <a:pPr>
              <a:spcAft>
                <a:spcPts val="300"/>
              </a:spcAft>
              <a:buClr>
                <a:srgbClr val="00ABE7"/>
              </a:buClr>
              <a:buSzPct val="100000"/>
            </a:pPr>
            <a:r>
              <a:rPr lang="de-DE" sz="900" dirty="0">
                <a:solidFill>
                  <a:schemeClr val="bg1"/>
                </a:solidFill>
                <a:latin typeface="Tahoma" panose="020B0604030504040204" pitchFamily="34" charset="0"/>
              </a:rPr>
              <a:t>Wir empfehlen, die blauen Folien nur für Showpräsentationen, Pressekonferenzen etc. zu verwenden.</a:t>
            </a:r>
          </a:p>
          <a:p>
            <a:pPr>
              <a:spcAft>
                <a:spcPts val="300"/>
              </a:spcAft>
              <a:buClr>
                <a:srgbClr val="00ABE7"/>
              </a:buClr>
              <a:buSzPct val="100000"/>
            </a:pPr>
            <a:endParaRPr lang="de-DE" sz="900" dirty="0">
              <a:solidFill>
                <a:schemeClr val="bg1"/>
              </a:solidFill>
              <a:latin typeface="Tahoma" panose="020B0604030504040204" pitchFamily="34" charset="0"/>
            </a:endParaRPr>
          </a:p>
          <a:p>
            <a:pPr>
              <a:spcAft>
                <a:spcPts val="300"/>
              </a:spcAft>
              <a:buClr>
                <a:srgbClr val="00ABE7"/>
              </a:buClr>
              <a:buSzPct val="100000"/>
            </a:pPr>
            <a:r>
              <a:rPr lang="de-DE" sz="900" dirty="0">
                <a:solidFill>
                  <a:schemeClr val="bg1"/>
                </a:solidFill>
                <a:latin typeface="Tahoma" panose="020B0604030504040204" pitchFamily="34" charset="0"/>
              </a:rPr>
              <a:t>Bitten beachten Sie, dass die Funktion „Design Check“ vom Corporate </a:t>
            </a:r>
            <a:r>
              <a:rPr lang="de-DE" sz="900" dirty="0" err="1">
                <a:solidFill>
                  <a:schemeClr val="bg1"/>
                </a:solidFill>
                <a:latin typeface="Tahoma" panose="020B0604030504040204" pitchFamily="34" charset="0"/>
              </a:rPr>
              <a:t>Presenter</a:t>
            </a:r>
            <a:r>
              <a:rPr lang="de-DE" sz="900" dirty="0">
                <a:solidFill>
                  <a:schemeClr val="bg1"/>
                </a:solidFill>
                <a:latin typeface="Tahoma" panose="020B0604030504040204" pitchFamily="34" charset="0"/>
              </a:rPr>
              <a:t> die blauen Folien nicht richtig überprüfen kann. Bitte ignorieren Sie daher die Kommentare des Dienstes für Ihre blauen Folien und führen Sie die Anpassungen für die blauen Folien nicht durch.</a:t>
            </a:r>
          </a:p>
        </p:txBody>
      </p:sp>
      <p:sp>
        <p:nvSpPr>
          <p:cNvPr id="13" name="tk_24">
            <a:extLst>
              <a:ext uri="{FF2B5EF4-FFF2-40B4-BE49-F238E27FC236}">
                <a16:creationId xmlns:a16="http://schemas.microsoft.com/office/drawing/2014/main" id="{F7A1DB43-311A-4571-A21A-0F7BD08976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-2843772" y="2841567"/>
            <a:ext cx="2772000" cy="2303289"/>
          </a:xfrm>
          <a:prstGeom prst="rect">
            <a:avLst/>
          </a:prstGeom>
          <a:solidFill>
            <a:srgbClr val="DD0C29"/>
          </a:solidFill>
          <a:ln>
            <a:noFill/>
          </a:ln>
          <a:effectLst/>
        </p:spPr>
        <p:txBody>
          <a:bodyPr lIns="90000" tIns="90000" rIns="90000" bIns="90000" anchor="ctr"/>
          <a:lstStyle/>
          <a:p>
            <a:pPr>
              <a:spcAft>
                <a:spcPts val="300"/>
              </a:spcAft>
              <a:buClr>
                <a:srgbClr val="00ABE7"/>
              </a:buClr>
              <a:buSzPct val="100000"/>
            </a:pPr>
            <a:r>
              <a:rPr lang="de-DE" sz="1200" b="1" dirty="0" err="1">
                <a:solidFill>
                  <a:schemeClr val="bg1"/>
                </a:solidFill>
                <a:latin typeface="Tahoma" panose="020B0604030504040204" pitchFamily="34" charset="0"/>
              </a:rPr>
              <a:t>Important</a:t>
            </a:r>
            <a:r>
              <a:rPr lang="de-DE" sz="1200" b="1" dirty="0">
                <a:solidFill>
                  <a:schemeClr val="bg1"/>
                </a:solidFill>
                <a:latin typeface="Tahoma" panose="020B0604030504040204" pitchFamily="34" charset="0"/>
              </a:rPr>
              <a:t> </a:t>
            </a:r>
            <a:r>
              <a:rPr lang="de-DE" sz="1200" b="1" dirty="0" err="1">
                <a:solidFill>
                  <a:schemeClr val="bg1"/>
                </a:solidFill>
                <a:latin typeface="Tahoma" panose="020B0604030504040204" pitchFamily="34" charset="0"/>
              </a:rPr>
              <a:t>note</a:t>
            </a:r>
            <a:r>
              <a:rPr lang="de-DE" sz="1200" b="1" dirty="0">
                <a:solidFill>
                  <a:schemeClr val="bg1"/>
                </a:solidFill>
                <a:latin typeface="Tahoma" panose="020B0604030504040204" pitchFamily="34" charset="0"/>
              </a:rPr>
              <a:t>:</a:t>
            </a:r>
          </a:p>
          <a:p>
            <a:pPr>
              <a:spcAft>
                <a:spcPts val="300"/>
              </a:spcAft>
              <a:buClr>
                <a:srgbClr val="00ABE7"/>
              </a:buClr>
              <a:buSzPct val="100000"/>
            </a:pPr>
            <a:r>
              <a:rPr lang="en-US" sz="900" dirty="0">
                <a:solidFill>
                  <a:schemeClr val="bg1"/>
                </a:solidFill>
                <a:latin typeface="Tahoma" panose="020B0604030504040204" pitchFamily="34" charset="0"/>
              </a:rPr>
              <a:t>We recommend to use the blue slides only</a:t>
            </a:r>
            <a:br>
              <a:rPr lang="en-US" sz="900" dirty="0">
                <a:solidFill>
                  <a:schemeClr val="bg1"/>
                </a:solidFill>
                <a:latin typeface="Tahoma" panose="020B0604030504040204" pitchFamily="34" charset="0"/>
              </a:rPr>
            </a:br>
            <a:r>
              <a:rPr lang="en-US" sz="900" dirty="0">
                <a:solidFill>
                  <a:schemeClr val="bg1"/>
                </a:solidFill>
                <a:latin typeface="Tahoma" panose="020B0604030504040204" pitchFamily="34" charset="0"/>
              </a:rPr>
              <a:t>for show presentations, press conferences etc.</a:t>
            </a:r>
          </a:p>
          <a:p>
            <a:pPr>
              <a:spcAft>
                <a:spcPts val="300"/>
              </a:spcAft>
              <a:buClr>
                <a:srgbClr val="00ABE7"/>
              </a:buClr>
              <a:buSzPct val="100000"/>
            </a:pPr>
            <a:endParaRPr lang="en-US" sz="900" dirty="0">
              <a:solidFill>
                <a:schemeClr val="bg1"/>
              </a:solidFill>
              <a:latin typeface="Tahoma" panose="020B0604030504040204" pitchFamily="34" charset="0"/>
            </a:endParaRPr>
          </a:p>
          <a:p>
            <a:pPr>
              <a:spcAft>
                <a:spcPts val="300"/>
              </a:spcAft>
              <a:buClr>
                <a:srgbClr val="00ABE7"/>
              </a:buClr>
              <a:buSzPct val="100000"/>
            </a:pPr>
            <a:r>
              <a:rPr lang="en-US" sz="900" dirty="0">
                <a:solidFill>
                  <a:schemeClr val="bg1"/>
                </a:solidFill>
                <a:latin typeface="Tahoma" panose="020B0604030504040204" pitchFamily="34" charset="0"/>
              </a:rPr>
              <a:t>Please note that the function “Design Check” of </a:t>
            </a:r>
            <a:r>
              <a:rPr lang="de-DE" sz="900" dirty="0">
                <a:solidFill>
                  <a:schemeClr val="bg1"/>
                </a:solidFill>
                <a:latin typeface="Tahoma" panose="020B0604030504040204" pitchFamily="34" charset="0"/>
              </a:rPr>
              <a:t>Corporate </a:t>
            </a:r>
            <a:r>
              <a:rPr lang="de-DE" sz="900" dirty="0" err="1">
                <a:solidFill>
                  <a:schemeClr val="bg1"/>
                </a:solidFill>
                <a:latin typeface="Tahoma" panose="020B0604030504040204" pitchFamily="34" charset="0"/>
              </a:rPr>
              <a:t>Presenter</a:t>
            </a:r>
            <a:r>
              <a:rPr lang="en-US" sz="900" dirty="0">
                <a:solidFill>
                  <a:schemeClr val="bg1"/>
                </a:solidFill>
                <a:latin typeface="Tahoma" panose="020B0604030504040204" pitchFamily="34" charset="0"/>
              </a:rPr>
              <a:t> cannot do a correct check of the blue slides. So please ignore the comments of the service for your blue slides and do not make the adjustments for the blue slides.</a:t>
            </a:r>
          </a:p>
        </p:txBody>
      </p:sp>
    </p:spTree>
    <p:extLst>
      <p:ext uri="{BB962C8B-B14F-4D97-AF65-F5344CB8AC3E}">
        <p14:creationId xmlns:p14="http://schemas.microsoft.com/office/powerpoint/2010/main" val="94128535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>
          <a:xfrm>
            <a:off x="0" y="0"/>
            <a:ext cx="9144000" cy="6859200"/>
          </a:xfrm>
          <a:prstGeom prst="rect">
            <a:avLst/>
          </a:prstGeom>
          <a:gradFill>
            <a:gsLst>
              <a:gs pos="0">
                <a:srgbClr val="1179BF"/>
              </a:gs>
              <a:gs pos="50000">
                <a:srgbClr val="004D7A"/>
              </a:gs>
              <a:gs pos="100000">
                <a:srgbClr val="001024"/>
              </a:gs>
            </a:gsLst>
            <a:lin ang="5400000" scaled="0"/>
          </a:gra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90000" rIns="9000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ct val="0"/>
              </a:spcAft>
            </a:pPr>
            <a:endParaRPr lang="de-DE" sz="1200" dirty="0" err="1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grpSp>
        <p:nvGrpSpPr>
          <p:cNvPr id="7" name="Gruppieren 6"/>
          <p:cNvGrpSpPr/>
          <p:nvPr/>
        </p:nvGrpSpPr>
        <p:grpSpPr>
          <a:xfrm>
            <a:off x="360002" y="6296401"/>
            <a:ext cx="8424000" cy="488471"/>
            <a:chOff x="360001" y="4722299"/>
            <a:chExt cx="8424000" cy="366353"/>
          </a:xfrm>
        </p:grpSpPr>
        <p:sp>
          <p:nvSpPr>
            <p:cNvPr id="8" name="Text Box 10"/>
            <p:cNvSpPr txBox="1">
              <a:spLocks noChangeArrowheads="1"/>
            </p:cNvSpPr>
            <p:nvPr/>
          </p:nvSpPr>
          <p:spPr bwMode="black">
            <a:xfrm>
              <a:off x="7607032" y="4909883"/>
              <a:ext cx="900000" cy="695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algn="r" fontAlgn="base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de-DE" sz="600" dirty="0">
                  <a:solidFill>
                    <a:srgbClr val="FFFFFF"/>
                  </a:solidFill>
                </a:rPr>
                <a:t>© ZF Friedrichshafen AG</a:t>
              </a:r>
            </a:p>
          </p:txBody>
        </p:sp>
        <p:cxnSp>
          <p:nvCxnSpPr>
            <p:cNvPr id="9" name="Gerade Verbindung 8"/>
            <p:cNvCxnSpPr/>
            <p:nvPr/>
          </p:nvCxnSpPr>
          <p:spPr>
            <a:xfrm>
              <a:off x="360001" y="4722299"/>
              <a:ext cx="8424000" cy="53"/>
            </a:xfrm>
            <a:prstGeom prst="line">
              <a:avLst/>
            </a:prstGeom>
            <a:ln w="19050" cap="rnd">
              <a:solidFill>
                <a:schemeClr val="bg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0" name="Grafik 9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0001" y="4800652"/>
              <a:ext cx="288000" cy="288000"/>
            </a:xfrm>
            <a:prstGeom prst="rect">
              <a:avLst/>
            </a:prstGeom>
          </p:spPr>
        </p:pic>
      </p:grpSp>
      <p:sp>
        <p:nvSpPr>
          <p:cNvPr id="13" name="tk_24">
            <a:extLst>
              <a:ext uri="{FF2B5EF4-FFF2-40B4-BE49-F238E27FC236}">
                <a16:creationId xmlns:a16="http://schemas.microsoft.com/office/drawing/2014/main" id="{7610BEED-2F24-48E1-A70F-D1C9CF3BE6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-2854672" y="-20472"/>
            <a:ext cx="2772000" cy="2591200"/>
          </a:xfrm>
          <a:prstGeom prst="rect">
            <a:avLst/>
          </a:prstGeom>
          <a:solidFill>
            <a:srgbClr val="DD0C29"/>
          </a:solidFill>
          <a:ln>
            <a:noFill/>
          </a:ln>
          <a:effectLst/>
        </p:spPr>
        <p:txBody>
          <a:bodyPr lIns="90000" tIns="90000" rIns="90000" bIns="90000" anchor="ctr"/>
          <a:lstStyle/>
          <a:p>
            <a:pPr>
              <a:spcAft>
                <a:spcPts val="300"/>
              </a:spcAft>
              <a:buClr>
                <a:srgbClr val="00ABE7"/>
              </a:buClr>
              <a:buSzPct val="100000"/>
            </a:pPr>
            <a:r>
              <a:rPr lang="de-DE" sz="1200" b="1" dirty="0">
                <a:solidFill>
                  <a:schemeClr val="bg1"/>
                </a:solidFill>
                <a:latin typeface="Tahoma" panose="020B0604030504040204" pitchFamily="34" charset="0"/>
              </a:rPr>
              <a:t>Wichtiger Hinweis:</a:t>
            </a:r>
          </a:p>
          <a:p>
            <a:pPr>
              <a:spcAft>
                <a:spcPts val="300"/>
              </a:spcAft>
              <a:buClr>
                <a:srgbClr val="00ABE7"/>
              </a:buClr>
              <a:buSzPct val="100000"/>
            </a:pPr>
            <a:r>
              <a:rPr lang="de-DE" sz="900" dirty="0">
                <a:solidFill>
                  <a:schemeClr val="bg1"/>
                </a:solidFill>
                <a:latin typeface="Tahoma" panose="020B0604030504040204" pitchFamily="34" charset="0"/>
              </a:rPr>
              <a:t>Wir empfehlen, die blauen Folien nur für Showpräsentationen, Pressekonferenzen etc. zu verwenden.</a:t>
            </a:r>
          </a:p>
          <a:p>
            <a:pPr>
              <a:spcAft>
                <a:spcPts val="300"/>
              </a:spcAft>
              <a:buClr>
                <a:srgbClr val="00ABE7"/>
              </a:buClr>
              <a:buSzPct val="100000"/>
            </a:pPr>
            <a:endParaRPr lang="de-DE" sz="900" dirty="0">
              <a:solidFill>
                <a:schemeClr val="bg1"/>
              </a:solidFill>
              <a:latin typeface="Tahoma" panose="020B0604030504040204" pitchFamily="34" charset="0"/>
            </a:endParaRPr>
          </a:p>
          <a:p>
            <a:pPr>
              <a:spcAft>
                <a:spcPts val="300"/>
              </a:spcAft>
              <a:buClr>
                <a:srgbClr val="00ABE7"/>
              </a:buClr>
              <a:buSzPct val="100000"/>
            </a:pPr>
            <a:r>
              <a:rPr lang="de-DE" sz="900" dirty="0">
                <a:solidFill>
                  <a:schemeClr val="bg1"/>
                </a:solidFill>
                <a:latin typeface="Tahoma" panose="020B0604030504040204" pitchFamily="34" charset="0"/>
              </a:rPr>
              <a:t>Bitten beachten Sie, dass die Funktion „Design Check“ vom Corporate </a:t>
            </a:r>
            <a:r>
              <a:rPr lang="de-DE" sz="900" dirty="0" err="1">
                <a:solidFill>
                  <a:schemeClr val="bg1"/>
                </a:solidFill>
                <a:latin typeface="Tahoma" panose="020B0604030504040204" pitchFamily="34" charset="0"/>
              </a:rPr>
              <a:t>Presenter</a:t>
            </a:r>
            <a:r>
              <a:rPr lang="de-DE" sz="900" dirty="0">
                <a:solidFill>
                  <a:schemeClr val="bg1"/>
                </a:solidFill>
                <a:latin typeface="Tahoma" panose="020B0604030504040204" pitchFamily="34" charset="0"/>
              </a:rPr>
              <a:t> die blauen Folien nicht richtig überprüfen kann. Bitte ignorieren Sie daher die Kommentare des Dienstes für Ihre blauen Folien und führen Sie die Anpassungen für die blauen Folien nicht durch.</a:t>
            </a:r>
          </a:p>
        </p:txBody>
      </p:sp>
      <p:sp>
        <p:nvSpPr>
          <p:cNvPr id="14" name="tk_24">
            <a:extLst>
              <a:ext uri="{FF2B5EF4-FFF2-40B4-BE49-F238E27FC236}">
                <a16:creationId xmlns:a16="http://schemas.microsoft.com/office/drawing/2014/main" id="{F7A1DB43-311A-4571-A21A-0F7BD08976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-2843772" y="2841567"/>
            <a:ext cx="2772000" cy="2303289"/>
          </a:xfrm>
          <a:prstGeom prst="rect">
            <a:avLst/>
          </a:prstGeom>
          <a:solidFill>
            <a:srgbClr val="DD0C29"/>
          </a:solidFill>
          <a:ln>
            <a:noFill/>
          </a:ln>
          <a:effectLst/>
        </p:spPr>
        <p:txBody>
          <a:bodyPr lIns="90000" tIns="90000" rIns="90000" bIns="90000" anchor="ctr"/>
          <a:lstStyle/>
          <a:p>
            <a:pPr>
              <a:spcAft>
                <a:spcPts val="300"/>
              </a:spcAft>
              <a:buClr>
                <a:srgbClr val="00ABE7"/>
              </a:buClr>
              <a:buSzPct val="100000"/>
            </a:pPr>
            <a:r>
              <a:rPr lang="de-DE" sz="1200" b="1" dirty="0" err="1">
                <a:solidFill>
                  <a:schemeClr val="bg1"/>
                </a:solidFill>
                <a:latin typeface="Tahoma" panose="020B0604030504040204" pitchFamily="34" charset="0"/>
              </a:rPr>
              <a:t>Important</a:t>
            </a:r>
            <a:r>
              <a:rPr lang="de-DE" sz="1200" b="1" dirty="0">
                <a:solidFill>
                  <a:schemeClr val="bg1"/>
                </a:solidFill>
                <a:latin typeface="Tahoma" panose="020B0604030504040204" pitchFamily="34" charset="0"/>
              </a:rPr>
              <a:t> </a:t>
            </a:r>
            <a:r>
              <a:rPr lang="de-DE" sz="1200" b="1" dirty="0" err="1">
                <a:solidFill>
                  <a:schemeClr val="bg1"/>
                </a:solidFill>
                <a:latin typeface="Tahoma" panose="020B0604030504040204" pitchFamily="34" charset="0"/>
              </a:rPr>
              <a:t>note</a:t>
            </a:r>
            <a:r>
              <a:rPr lang="de-DE" sz="1200" b="1" dirty="0">
                <a:solidFill>
                  <a:schemeClr val="bg1"/>
                </a:solidFill>
                <a:latin typeface="Tahoma" panose="020B0604030504040204" pitchFamily="34" charset="0"/>
              </a:rPr>
              <a:t>:</a:t>
            </a:r>
          </a:p>
          <a:p>
            <a:pPr>
              <a:spcAft>
                <a:spcPts val="300"/>
              </a:spcAft>
              <a:buClr>
                <a:srgbClr val="00ABE7"/>
              </a:buClr>
              <a:buSzPct val="100000"/>
            </a:pPr>
            <a:r>
              <a:rPr lang="en-US" sz="900" dirty="0">
                <a:solidFill>
                  <a:schemeClr val="bg1"/>
                </a:solidFill>
                <a:latin typeface="Tahoma" panose="020B0604030504040204" pitchFamily="34" charset="0"/>
              </a:rPr>
              <a:t>We recommend to use the blue slides only</a:t>
            </a:r>
            <a:br>
              <a:rPr lang="en-US" sz="900" dirty="0">
                <a:solidFill>
                  <a:schemeClr val="bg1"/>
                </a:solidFill>
                <a:latin typeface="Tahoma" panose="020B0604030504040204" pitchFamily="34" charset="0"/>
              </a:rPr>
            </a:br>
            <a:r>
              <a:rPr lang="en-US" sz="900" dirty="0">
                <a:solidFill>
                  <a:schemeClr val="bg1"/>
                </a:solidFill>
                <a:latin typeface="Tahoma" panose="020B0604030504040204" pitchFamily="34" charset="0"/>
              </a:rPr>
              <a:t>for show presentations, press conferences etc.</a:t>
            </a:r>
          </a:p>
          <a:p>
            <a:pPr>
              <a:spcAft>
                <a:spcPts val="300"/>
              </a:spcAft>
              <a:buClr>
                <a:srgbClr val="00ABE7"/>
              </a:buClr>
              <a:buSzPct val="100000"/>
            </a:pPr>
            <a:endParaRPr lang="en-US" sz="900" dirty="0">
              <a:solidFill>
                <a:schemeClr val="bg1"/>
              </a:solidFill>
              <a:latin typeface="Tahoma" panose="020B0604030504040204" pitchFamily="34" charset="0"/>
            </a:endParaRPr>
          </a:p>
          <a:p>
            <a:pPr>
              <a:spcAft>
                <a:spcPts val="300"/>
              </a:spcAft>
              <a:buClr>
                <a:srgbClr val="00ABE7"/>
              </a:buClr>
              <a:buSzPct val="100000"/>
            </a:pPr>
            <a:r>
              <a:rPr lang="en-US" sz="900" dirty="0">
                <a:solidFill>
                  <a:schemeClr val="bg1"/>
                </a:solidFill>
                <a:latin typeface="Tahoma" panose="020B0604030504040204" pitchFamily="34" charset="0"/>
              </a:rPr>
              <a:t>Please note that the function “Design Check” of </a:t>
            </a:r>
            <a:r>
              <a:rPr lang="de-DE" sz="900" dirty="0">
                <a:solidFill>
                  <a:schemeClr val="bg1"/>
                </a:solidFill>
                <a:latin typeface="Tahoma" panose="020B0604030504040204" pitchFamily="34" charset="0"/>
              </a:rPr>
              <a:t>Corporate </a:t>
            </a:r>
            <a:r>
              <a:rPr lang="de-DE" sz="900" dirty="0" err="1">
                <a:solidFill>
                  <a:schemeClr val="bg1"/>
                </a:solidFill>
                <a:latin typeface="Tahoma" panose="020B0604030504040204" pitchFamily="34" charset="0"/>
              </a:rPr>
              <a:t>Presenter</a:t>
            </a:r>
            <a:r>
              <a:rPr lang="en-US" sz="900" dirty="0">
                <a:solidFill>
                  <a:schemeClr val="bg1"/>
                </a:solidFill>
                <a:latin typeface="Tahoma" panose="020B0604030504040204" pitchFamily="34" charset="0"/>
              </a:rPr>
              <a:t> cannot do a correct check of the blue slides. So please ignore the comments of the service for your blue slides and do not make the adjustments for the blue slides.</a:t>
            </a:r>
          </a:p>
        </p:txBody>
      </p:sp>
    </p:spTree>
    <p:extLst>
      <p:ext uri="{BB962C8B-B14F-4D97-AF65-F5344CB8AC3E}">
        <p14:creationId xmlns:p14="http://schemas.microsoft.com/office/powerpoint/2010/main" val="275176329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/>
        </p:nvSpPr>
        <p:spPr>
          <a:xfrm>
            <a:off x="0" y="0"/>
            <a:ext cx="9144000" cy="6859200"/>
          </a:xfrm>
          <a:prstGeom prst="rect">
            <a:avLst/>
          </a:prstGeom>
          <a:gradFill>
            <a:gsLst>
              <a:gs pos="0">
                <a:srgbClr val="1179BF"/>
              </a:gs>
              <a:gs pos="50000">
                <a:srgbClr val="004D7A"/>
              </a:gs>
              <a:gs pos="100000">
                <a:srgbClr val="001024"/>
              </a:gs>
            </a:gsLst>
            <a:lin ang="5400000" scaled="0"/>
          </a:gra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90000" rIns="9000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ct val="0"/>
              </a:spcAft>
            </a:pPr>
            <a:endParaRPr lang="de-DE" sz="1200" dirty="0" err="1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grpSp>
        <p:nvGrpSpPr>
          <p:cNvPr id="6" name="Gruppieren 5"/>
          <p:cNvGrpSpPr/>
          <p:nvPr/>
        </p:nvGrpSpPr>
        <p:grpSpPr>
          <a:xfrm>
            <a:off x="360002" y="6296401"/>
            <a:ext cx="8424000" cy="488471"/>
            <a:chOff x="360001" y="4722299"/>
            <a:chExt cx="8424000" cy="366353"/>
          </a:xfrm>
        </p:grpSpPr>
        <p:sp>
          <p:nvSpPr>
            <p:cNvPr id="7" name="Text Box 10"/>
            <p:cNvSpPr txBox="1">
              <a:spLocks noChangeArrowheads="1"/>
            </p:cNvSpPr>
            <p:nvPr/>
          </p:nvSpPr>
          <p:spPr bwMode="black">
            <a:xfrm>
              <a:off x="7607032" y="4909883"/>
              <a:ext cx="900000" cy="695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algn="r" fontAlgn="base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de-DE" sz="600" dirty="0">
                  <a:solidFill>
                    <a:srgbClr val="FFFFFF"/>
                  </a:solidFill>
                </a:rPr>
                <a:t>© ZF Friedrichshafen AG</a:t>
              </a:r>
            </a:p>
          </p:txBody>
        </p:sp>
        <p:cxnSp>
          <p:nvCxnSpPr>
            <p:cNvPr id="8" name="Gerade Verbindung 7"/>
            <p:cNvCxnSpPr/>
            <p:nvPr/>
          </p:nvCxnSpPr>
          <p:spPr>
            <a:xfrm>
              <a:off x="360001" y="4722299"/>
              <a:ext cx="8424000" cy="53"/>
            </a:xfrm>
            <a:prstGeom prst="line">
              <a:avLst/>
            </a:prstGeom>
            <a:ln w="19050" cap="rnd">
              <a:solidFill>
                <a:schemeClr val="bg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9" name="Grafik 8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0001" y="4800652"/>
              <a:ext cx="288000" cy="288000"/>
            </a:xfrm>
            <a:prstGeom prst="rect">
              <a:avLst/>
            </a:prstGeom>
          </p:spPr>
        </p:pic>
      </p:grpSp>
      <p:sp>
        <p:nvSpPr>
          <p:cNvPr id="12" name="tk_24">
            <a:extLst>
              <a:ext uri="{FF2B5EF4-FFF2-40B4-BE49-F238E27FC236}">
                <a16:creationId xmlns:a16="http://schemas.microsoft.com/office/drawing/2014/main" id="{7610BEED-2F24-48E1-A70F-D1C9CF3BE6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-2854672" y="-20472"/>
            <a:ext cx="2772000" cy="2591200"/>
          </a:xfrm>
          <a:prstGeom prst="rect">
            <a:avLst/>
          </a:prstGeom>
          <a:solidFill>
            <a:srgbClr val="DD0C29"/>
          </a:solidFill>
          <a:ln>
            <a:noFill/>
          </a:ln>
          <a:effectLst/>
        </p:spPr>
        <p:txBody>
          <a:bodyPr lIns="90000" tIns="90000" rIns="90000" bIns="90000" anchor="ctr"/>
          <a:lstStyle/>
          <a:p>
            <a:pPr>
              <a:spcAft>
                <a:spcPts val="300"/>
              </a:spcAft>
              <a:buClr>
                <a:srgbClr val="00ABE7"/>
              </a:buClr>
              <a:buSzPct val="100000"/>
            </a:pPr>
            <a:r>
              <a:rPr lang="de-DE" sz="1200" b="1" dirty="0">
                <a:solidFill>
                  <a:schemeClr val="bg1"/>
                </a:solidFill>
                <a:latin typeface="Tahoma" panose="020B0604030504040204" pitchFamily="34" charset="0"/>
              </a:rPr>
              <a:t>Wichtiger Hinweis:</a:t>
            </a:r>
          </a:p>
          <a:p>
            <a:pPr>
              <a:spcAft>
                <a:spcPts val="300"/>
              </a:spcAft>
              <a:buClr>
                <a:srgbClr val="00ABE7"/>
              </a:buClr>
              <a:buSzPct val="100000"/>
            </a:pPr>
            <a:r>
              <a:rPr lang="de-DE" sz="900" dirty="0">
                <a:solidFill>
                  <a:schemeClr val="bg1"/>
                </a:solidFill>
                <a:latin typeface="Tahoma" panose="020B0604030504040204" pitchFamily="34" charset="0"/>
              </a:rPr>
              <a:t>Wir empfehlen, die blauen Folien nur für Showpräsentationen, Pressekonferenzen etc. zu verwenden.</a:t>
            </a:r>
          </a:p>
          <a:p>
            <a:pPr>
              <a:spcAft>
                <a:spcPts val="300"/>
              </a:spcAft>
              <a:buClr>
                <a:srgbClr val="00ABE7"/>
              </a:buClr>
              <a:buSzPct val="100000"/>
            </a:pPr>
            <a:endParaRPr lang="de-DE" sz="900" dirty="0">
              <a:solidFill>
                <a:schemeClr val="bg1"/>
              </a:solidFill>
              <a:latin typeface="Tahoma" panose="020B0604030504040204" pitchFamily="34" charset="0"/>
            </a:endParaRPr>
          </a:p>
          <a:p>
            <a:pPr>
              <a:spcAft>
                <a:spcPts val="300"/>
              </a:spcAft>
              <a:buClr>
                <a:srgbClr val="00ABE7"/>
              </a:buClr>
              <a:buSzPct val="100000"/>
            </a:pPr>
            <a:r>
              <a:rPr lang="de-DE" sz="900" dirty="0">
                <a:solidFill>
                  <a:schemeClr val="bg1"/>
                </a:solidFill>
                <a:latin typeface="Tahoma" panose="020B0604030504040204" pitchFamily="34" charset="0"/>
              </a:rPr>
              <a:t>Bitten beachten Sie, dass die Funktion „Design Check“ vom Corporate </a:t>
            </a:r>
            <a:r>
              <a:rPr lang="de-DE" sz="900" dirty="0" err="1">
                <a:solidFill>
                  <a:schemeClr val="bg1"/>
                </a:solidFill>
                <a:latin typeface="Tahoma" panose="020B0604030504040204" pitchFamily="34" charset="0"/>
              </a:rPr>
              <a:t>Presenter</a:t>
            </a:r>
            <a:r>
              <a:rPr lang="de-DE" sz="900" dirty="0">
                <a:solidFill>
                  <a:schemeClr val="bg1"/>
                </a:solidFill>
                <a:latin typeface="Tahoma" panose="020B0604030504040204" pitchFamily="34" charset="0"/>
              </a:rPr>
              <a:t> die blauen Folien nicht richtig überprüfen kann. Bitte ignorieren Sie daher die Kommentare des Dienstes für Ihre blauen Folien und führen Sie die Anpassungen für die blauen Folien nicht durch.</a:t>
            </a:r>
          </a:p>
        </p:txBody>
      </p:sp>
      <p:sp>
        <p:nvSpPr>
          <p:cNvPr id="13" name="tk_24">
            <a:extLst>
              <a:ext uri="{FF2B5EF4-FFF2-40B4-BE49-F238E27FC236}">
                <a16:creationId xmlns:a16="http://schemas.microsoft.com/office/drawing/2014/main" id="{F7A1DB43-311A-4571-A21A-0F7BD08976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-2843772" y="2841567"/>
            <a:ext cx="2772000" cy="2303289"/>
          </a:xfrm>
          <a:prstGeom prst="rect">
            <a:avLst/>
          </a:prstGeom>
          <a:solidFill>
            <a:srgbClr val="DD0C29"/>
          </a:solidFill>
          <a:ln>
            <a:noFill/>
          </a:ln>
          <a:effectLst/>
        </p:spPr>
        <p:txBody>
          <a:bodyPr lIns="90000" tIns="90000" rIns="90000" bIns="90000" anchor="ctr"/>
          <a:lstStyle/>
          <a:p>
            <a:pPr>
              <a:spcAft>
                <a:spcPts val="300"/>
              </a:spcAft>
              <a:buClr>
                <a:srgbClr val="00ABE7"/>
              </a:buClr>
              <a:buSzPct val="100000"/>
            </a:pPr>
            <a:r>
              <a:rPr lang="de-DE" sz="1200" b="1" dirty="0" err="1">
                <a:solidFill>
                  <a:schemeClr val="bg1"/>
                </a:solidFill>
                <a:latin typeface="Tahoma" panose="020B0604030504040204" pitchFamily="34" charset="0"/>
              </a:rPr>
              <a:t>Important</a:t>
            </a:r>
            <a:r>
              <a:rPr lang="de-DE" sz="1200" b="1" dirty="0">
                <a:solidFill>
                  <a:schemeClr val="bg1"/>
                </a:solidFill>
                <a:latin typeface="Tahoma" panose="020B0604030504040204" pitchFamily="34" charset="0"/>
              </a:rPr>
              <a:t> </a:t>
            </a:r>
            <a:r>
              <a:rPr lang="de-DE" sz="1200" b="1" dirty="0" err="1">
                <a:solidFill>
                  <a:schemeClr val="bg1"/>
                </a:solidFill>
                <a:latin typeface="Tahoma" panose="020B0604030504040204" pitchFamily="34" charset="0"/>
              </a:rPr>
              <a:t>note</a:t>
            </a:r>
            <a:r>
              <a:rPr lang="de-DE" sz="1200" b="1" dirty="0">
                <a:solidFill>
                  <a:schemeClr val="bg1"/>
                </a:solidFill>
                <a:latin typeface="Tahoma" panose="020B0604030504040204" pitchFamily="34" charset="0"/>
              </a:rPr>
              <a:t>:</a:t>
            </a:r>
          </a:p>
          <a:p>
            <a:pPr>
              <a:spcAft>
                <a:spcPts val="300"/>
              </a:spcAft>
              <a:buClr>
                <a:srgbClr val="00ABE7"/>
              </a:buClr>
              <a:buSzPct val="100000"/>
            </a:pPr>
            <a:r>
              <a:rPr lang="en-US" sz="900" dirty="0">
                <a:solidFill>
                  <a:schemeClr val="bg1"/>
                </a:solidFill>
                <a:latin typeface="Tahoma" panose="020B0604030504040204" pitchFamily="34" charset="0"/>
              </a:rPr>
              <a:t>We recommend to use the blue slides only</a:t>
            </a:r>
            <a:br>
              <a:rPr lang="en-US" sz="900" dirty="0">
                <a:solidFill>
                  <a:schemeClr val="bg1"/>
                </a:solidFill>
                <a:latin typeface="Tahoma" panose="020B0604030504040204" pitchFamily="34" charset="0"/>
              </a:rPr>
            </a:br>
            <a:r>
              <a:rPr lang="en-US" sz="900" dirty="0">
                <a:solidFill>
                  <a:schemeClr val="bg1"/>
                </a:solidFill>
                <a:latin typeface="Tahoma" panose="020B0604030504040204" pitchFamily="34" charset="0"/>
              </a:rPr>
              <a:t>for show presentations, press conferences etc.</a:t>
            </a:r>
          </a:p>
          <a:p>
            <a:pPr>
              <a:spcAft>
                <a:spcPts val="300"/>
              </a:spcAft>
              <a:buClr>
                <a:srgbClr val="00ABE7"/>
              </a:buClr>
              <a:buSzPct val="100000"/>
            </a:pPr>
            <a:endParaRPr lang="en-US" sz="900" dirty="0">
              <a:solidFill>
                <a:schemeClr val="bg1"/>
              </a:solidFill>
              <a:latin typeface="Tahoma" panose="020B0604030504040204" pitchFamily="34" charset="0"/>
            </a:endParaRPr>
          </a:p>
          <a:p>
            <a:pPr>
              <a:spcAft>
                <a:spcPts val="300"/>
              </a:spcAft>
              <a:buClr>
                <a:srgbClr val="00ABE7"/>
              </a:buClr>
              <a:buSzPct val="100000"/>
            </a:pPr>
            <a:r>
              <a:rPr lang="en-US" sz="900" dirty="0">
                <a:solidFill>
                  <a:schemeClr val="bg1"/>
                </a:solidFill>
                <a:latin typeface="Tahoma" panose="020B0604030504040204" pitchFamily="34" charset="0"/>
              </a:rPr>
              <a:t>Please note that the function “Design Check” of </a:t>
            </a:r>
            <a:r>
              <a:rPr lang="de-DE" sz="900" dirty="0">
                <a:solidFill>
                  <a:schemeClr val="bg1"/>
                </a:solidFill>
                <a:latin typeface="Tahoma" panose="020B0604030504040204" pitchFamily="34" charset="0"/>
              </a:rPr>
              <a:t>Corporate </a:t>
            </a:r>
            <a:r>
              <a:rPr lang="de-DE" sz="900" dirty="0" err="1">
                <a:solidFill>
                  <a:schemeClr val="bg1"/>
                </a:solidFill>
                <a:latin typeface="Tahoma" panose="020B0604030504040204" pitchFamily="34" charset="0"/>
              </a:rPr>
              <a:t>Presenter</a:t>
            </a:r>
            <a:r>
              <a:rPr lang="en-US" sz="900" dirty="0">
                <a:solidFill>
                  <a:schemeClr val="bg1"/>
                </a:solidFill>
                <a:latin typeface="Tahoma" panose="020B0604030504040204" pitchFamily="34" charset="0"/>
              </a:rPr>
              <a:t> cannot do a correct check of the blue slides. So please ignore the comments of the service for your blue slides and do not make the adjustments for the blue slides.</a:t>
            </a:r>
          </a:p>
        </p:txBody>
      </p:sp>
    </p:spTree>
    <p:extLst>
      <p:ext uri="{BB962C8B-B14F-4D97-AF65-F5344CB8AC3E}">
        <p14:creationId xmlns:p14="http://schemas.microsoft.com/office/powerpoint/2010/main" val="270455954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for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2">
            <a:extLst>
              <a:ext uri="{FF2B5EF4-FFF2-40B4-BE49-F238E27FC236}">
                <a16:creationId xmlns:a16="http://schemas.microsoft.com/office/drawing/2014/main" id="{22FDBB0D-9A76-097F-5478-D8AB3324536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365"/>
            <a:ext cx="9144000" cy="6859388"/>
          </a:xfrm>
          <a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109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59999" y="1211221"/>
            <a:ext cx="8424000" cy="1410643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z="36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359998" y="2920240"/>
            <a:ext cx="4212002" cy="88505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ts val="3000"/>
              </a:lnSpc>
              <a:spcBef>
                <a:spcPct val="0"/>
              </a:spcBef>
            </a:pPr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6CF8F7F5-1D26-B002-9948-6C3932287BB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828762" y="5104779"/>
            <a:ext cx="864000" cy="1152356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r>
              <a:rPr lang="de-DE"/>
              <a:t>  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4034911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63068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0364" y="191942"/>
            <a:ext cx="8424001" cy="7917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60005" y="1152002"/>
            <a:ext cx="4122737" cy="504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7" name="Inhaltsplatzhalter 3"/>
          <p:cNvSpPr>
            <a:spLocks noGrp="1"/>
          </p:cNvSpPr>
          <p:nvPr>
            <p:ph idx="13"/>
          </p:nvPr>
        </p:nvSpPr>
        <p:spPr>
          <a:xfrm>
            <a:off x="4661096" y="1152002"/>
            <a:ext cx="4122000" cy="504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59669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5" name="Inhaltsplatzhalter 1"/>
          <p:cNvSpPr>
            <a:spLocks noGrp="1"/>
          </p:cNvSpPr>
          <p:nvPr>
            <p:ph idx="1"/>
          </p:nvPr>
        </p:nvSpPr>
        <p:spPr bwMode="gray">
          <a:xfrm>
            <a:off x="360001" y="1152002"/>
            <a:ext cx="2700000" cy="504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idx="13"/>
          </p:nvPr>
        </p:nvSpPr>
        <p:spPr bwMode="gray">
          <a:xfrm>
            <a:off x="3222002" y="1152002"/>
            <a:ext cx="2700000" cy="504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7" name="Inhaltsplatzhalter 3"/>
          <p:cNvSpPr>
            <a:spLocks noGrp="1"/>
          </p:cNvSpPr>
          <p:nvPr>
            <p:ph sz="quarter" idx="14"/>
          </p:nvPr>
        </p:nvSpPr>
        <p:spPr>
          <a:xfrm>
            <a:off x="6084002" y="1152002"/>
            <a:ext cx="2700000" cy="504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428242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5" name="Inhaltsplatzhalter 1"/>
          <p:cNvSpPr>
            <a:spLocks noGrp="1"/>
          </p:cNvSpPr>
          <p:nvPr>
            <p:ph idx="1"/>
          </p:nvPr>
        </p:nvSpPr>
        <p:spPr bwMode="gray">
          <a:xfrm>
            <a:off x="360003" y="1151999"/>
            <a:ext cx="4122737" cy="24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idx="13"/>
          </p:nvPr>
        </p:nvSpPr>
        <p:spPr bwMode="gray">
          <a:xfrm>
            <a:off x="4660362" y="1152001"/>
            <a:ext cx="4122737" cy="24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7" name="Inhaltsplatzhalter 3"/>
          <p:cNvSpPr>
            <a:spLocks noGrp="1"/>
          </p:cNvSpPr>
          <p:nvPr>
            <p:ph sz="quarter" idx="14"/>
          </p:nvPr>
        </p:nvSpPr>
        <p:spPr>
          <a:xfrm>
            <a:off x="360003" y="3792000"/>
            <a:ext cx="4122737" cy="240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8" name="Inhaltsplatzhalter 4"/>
          <p:cNvSpPr>
            <a:spLocks noGrp="1"/>
          </p:cNvSpPr>
          <p:nvPr>
            <p:ph sz="quarter" idx="15"/>
          </p:nvPr>
        </p:nvSpPr>
        <p:spPr>
          <a:xfrm>
            <a:off x="4660362" y="3792000"/>
            <a:ext cx="4122737" cy="240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597397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5" name="Inhaltsplatzhalter 1"/>
          <p:cNvSpPr>
            <a:spLocks noGrp="1"/>
          </p:cNvSpPr>
          <p:nvPr>
            <p:ph idx="1"/>
          </p:nvPr>
        </p:nvSpPr>
        <p:spPr bwMode="gray">
          <a:xfrm>
            <a:off x="360001" y="1152001"/>
            <a:ext cx="2700000" cy="24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idx="13"/>
          </p:nvPr>
        </p:nvSpPr>
        <p:spPr bwMode="gray">
          <a:xfrm>
            <a:off x="3222002" y="1152001"/>
            <a:ext cx="2700000" cy="24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7" name="Inhaltsplatzhalter 3"/>
          <p:cNvSpPr>
            <a:spLocks noGrp="1"/>
          </p:cNvSpPr>
          <p:nvPr>
            <p:ph sz="quarter" idx="14"/>
          </p:nvPr>
        </p:nvSpPr>
        <p:spPr>
          <a:xfrm>
            <a:off x="6084002" y="1152001"/>
            <a:ext cx="2700000" cy="240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8" name="Inhaltsplatzhalter 4"/>
          <p:cNvSpPr>
            <a:spLocks noGrp="1"/>
          </p:cNvSpPr>
          <p:nvPr>
            <p:ph sz="quarter" idx="15"/>
          </p:nvPr>
        </p:nvSpPr>
        <p:spPr>
          <a:xfrm>
            <a:off x="360001" y="3792000"/>
            <a:ext cx="2700000" cy="240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9" name="Inhaltsplatzhalter 5"/>
          <p:cNvSpPr>
            <a:spLocks noGrp="1"/>
          </p:cNvSpPr>
          <p:nvPr>
            <p:ph sz="quarter" idx="16"/>
          </p:nvPr>
        </p:nvSpPr>
        <p:spPr>
          <a:xfrm>
            <a:off x="3222002" y="3791702"/>
            <a:ext cx="2700000" cy="2400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0" name="Inhaltsplatzhalter 6"/>
          <p:cNvSpPr>
            <a:spLocks noGrp="1"/>
          </p:cNvSpPr>
          <p:nvPr>
            <p:ph sz="quarter" idx="17"/>
          </p:nvPr>
        </p:nvSpPr>
        <p:spPr>
          <a:xfrm>
            <a:off x="6084002" y="3791702"/>
            <a:ext cx="2700000" cy="2400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2069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340818" y="6277263"/>
            <a:ext cx="4610366" cy="4800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991" tIns="89991" rIns="89991" bIns="899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ts val="1699"/>
              </a:lnSpc>
              <a:spcBef>
                <a:spcPts val="840"/>
              </a:spcBef>
              <a:spcAft>
                <a:spcPct val="0"/>
              </a:spcAft>
            </a:pPr>
            <a:endParaRPr lang="de-DE" sz="1200" dirty="0" err="1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0362" y="192000"/>
            <a:ext cx="4122000" cy="13445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929391" y="6520870"/>
            <a:ext cx="3564000" cy="14400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Inhaltsplatzhalter 2"/>
          <p:cNvSpPr>
            <a:spLocks noGrp="1"/>
          </p:cNvSpPr>
          <p:nvPr>
            <p:ph idx="1"/>
          </p:nvPr>
        </p:nvSpPr>
        <p:spPr bwMode="gray">
          <a:xfrm>
            <a:off x="360003" y="1871999"/>
            <a:ext cx="4122737" cy="432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7" name="Bildplatzhalter 2"/>
          <p:cNvSpPr>
            <a:spLocks noGrp="1"/>
          </p:cNvSpPr>
          <p:nvPr>
            <p:ph type="pic" sz="quarter" idx="12"/>
          </p:nvPr>
        </p:nvSpPr>
        <p:spPr>
          <a:xfrm>
            <a:off x="4661096" y="0"/>
            <a:ext cx="4482904" cy="6858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cxnSp>
        <p:nvCxnSpPr>
          <p:cNvPr id="13" name="Gerade Verbindung 8"/>
          <p:cNvCxnSpPr/>
          <p:nvPr/>
        </p:nvCxnSpPr>
        <p:spPr>
          <a:xfrm>
            <a:off x="360004" y="6296401"/>
            <a:ext cx="4122737" cy="71"/>
          </a:xfrm>
          <a:prstGeom prst="line">
            <a:avLst/>
          </a:prstGeom>
          <a:ln w="19050" cap="rnd">
            <a:solidFill>
              <a:schemeClr val="accent4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9"/>
          <p:cNvSpPr txBox="1">
            <a:spLocks noChangeArrowheads="1"/>
          </p:cNvSpPr>
          <p:nvPr/>
        </p:nvSpPr>
        <p:spPr bwMode="auto">
          <a:xfrm>
            <a:off x="-2188873" y="0"/>
            <a:ext cx="2103150" cy="3119999"/>
          </a:xfrm>
          <a:prstGeom prst="rect">
            <a:avLst/>
          </a:prstGeom>
          <a:solidFill>
            <a:srgbClr val="DD0C29"/>
          </a:solidFill>
          <a:ln>
            <a:noFill/>
          </a:ln>
        </p:spPr>
        <p:txBody>
          <a:bodyPr wrap="square" lIns="35996" tIns="35996" rIns="35996" bIns="35996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1000" b="1" dirty="0">
                <a:solidFill>
                  <a:srgbClr val="FFFFFF"/>
                </a:solidFill>
                <a:cs typeface="Tahoma" charset="0"/>
              </a:rPr>
              <a:t>Bearbeitungshinweis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800" dirty="0">
                <a:solidFill>
                  <a:srgbClr val="FFFFFF"/>
                </a:solidFill>
                <a:cs typeface="Tahoma" charset="0"/>
              </a:rPr>
              <a:t>Klicken Sie auf das Symbol im Platzhalter und wählen Sie ein Bild aus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800" dirty="0">
                <a:solidFill>
                  <a:srgbClr val="FFFFFF"/>
                </a:solidFill>
                <a:cs typeface="Tahoma" charset="0"/>
              </a:rPr>
              <a:t>Sofern das Bild nicht der Größe des Bildplatzhalters entspricht und somit nicht richtig zugeschnitten ist, gehen Sie bitte wie folgt vor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800" dirty="0">
                <a:solidFill>
                  <a:srgbClr val="FFFFFF"/>
                </a:solidFill>
                <a:cs typeface="Tahoma" charset="0"/>
              </a:rPr>
              <a:t>Gehen Sie mit der Maus auf das Bild - Klicken Sie auf die rechte Maustaste und wählen Sie „Grafik formatieren“ aus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800" dirty="0">
                <a:solidFill>
                  <a:srgbClr val="FFFFFF"/>
                </a:solidFill>
                <a:cs typeface="Tahoma" charset="0"/>
              </a:rPr>
              <a:t>Wählen Sie dann „Zuschneiden“. Unter „Bildposition“ – X-Offset und Y-Offset können Sie nun den gewünschten Ausschnitt bestimmen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800" dirty="0">
                <a:solidFill>
                  <a:srgbClr val="FFFFFF"/>
                </a:solidFill>
                <a:cs typeface="Tahoma" charset="0"/>
              </a:rPr>
              <a:t>Mit positiven Werten wird das Bild nach unten bzw. nach rechts verschoben. Mit negativen Werten hingegen nach oben bzw. links.</a:t>
            </a:r>
            <a:endParaRPr lang="en-US" sz="900" dirty="0">
              <a:solidFill>
                <a:srgbClr val="FFFFFF"/>
              </a:solidFill>
              <a:cs typeface="Tahoma" charset="0"/>
            </a:endParaRPr>
          </a:p>
        </p:txBody>
      </p:sp>
      <p:sp>
        <p:nvSpPr>
          <p:cNvPr id="15" name="Textfeld 11"/>
          <p:cNvSpPr txBox="1">
            <a:spLocks noChangeArrowheads="1"/>
          </p:cNvSpPr>
          <p:nvPr/>
        </p:nvSpPr>
        <p:spPr bwMode="auto">
          <a:xfrm>
            <a:off x="-2188873" y="3205260"/>
            <a:ext cx="2103150" cy="3119999"/>
          </a:xfrm>
          <a:prstGeom prst="rect">
            <a:avLst/>
          </a:prstGeom>
          <a:solidFill>
            <a:srgbClr val="DD0C29"/>
          </a:solidFill>
          <a:ln>
            <a:noFill/>
          </a:ln>
        </p:spPr>
        <p:txBody>
          <a:bodyPr wrap="square" lIns="35996" tIns="35996" rIns="35996" bIns="35996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1000" b="1" dirty="0">
                <a:solidFill>
                  <a:srgbClr val="FFFFFF"/>
                </a:solidFill>
                <a:cs typeface="Tahoma" charset="0"/>
              </a:rPr>
              <a:t>Handling </a:t>
            </a:r>
            <a:r>
              <a:rPr lang="de-DE" sz="1000" b="1" dirty="0" err="1">
                <a:solidFill>
                  <a:srgbClr val="FFFFFF"/>
                </a:solidFill>
                <a:cs typeface="Tahoma" charset="0"/>
              </a:rPr>
              <a:t>instructions</a:t>
            </a:r>
            <a:r>
              <a:rPr lang="de-DE" sz="1000" b="1" dirty="0">
                <a:solidFill>
                  <a:srgbClr val="FFFFFF"/>
                </a:solidFill>
                <a:cs typeface="Tahoma" charset="0"/>
              </a:rPr>
              <a:t>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FFFFFF"/>
                </a:solidFill>
                <a:cs typeface="Tahoma" charset="0"/>
              </a:rPr>
              <a:t>Click on the symbol in the place holder and select an image. If the image does not have the same size as the place holder, please follow this instruction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FFFFFF"/>
                </a:solidFill>
                <a:cs typeface="Tahoma" charset="0"/>
              </a:rPr>
              <a:t>Move the computer mouse on the picture – right-click and choose “Format Picture”. Then select “Crop”. Edit “Picture Position” – Offset X and Offset Y to determine the appropriate section. 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FFFFFF"/>
                </a:solidFill>
                <a:cs typeface="Tahoma" charset="0"/>
              </a:rPr>
              <a:t>With positive values you can move the picture down and to the right, with negative values up and to the left.</a:t>
            </a:r>
          </a:p>
        </p:txBody>
      </p:sp>
    </p:spTree>
    <p:extLst>
      <p:ext uri="{BB962C8B-B14F-4D97-AF65-F5344CB8AC3E}">
        <p14:creationId xmlns:p14="http://schemas.microsoft.com/office/powerpoint/2010/main" val="10235961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/>
        </p:nvSpPr>
        <p:spPr>
          <a:xfrm>
            <a:off x="340818" y="6277263"/>
            <a:ext cx="4610366" cy="4800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991" tIns="89991" rIns="89991" bIns="899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ts val="1699"/>
              </a:lnSpc>
              <a:spcBef>
                <a:spcPts val="840"/>
              </a:spcBef>
              <a:spcAft>
                <a:spcPct val="0"/>
              </a:spcAft>
            </a:pPr>
            <a:endParaRPr lang="de-DE" sz="1200" dirty="0" err="1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0362" y="192000"/>
            <a:ext cx="4122000" cy="13445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929391" y="6520870"/>
            <a:ext cx="3563234" cy="144000"/>
          </a:xfrm>
        </p:spPr>
        <p:txBody>
          <a:bodyPr/>
          <a:lstStyle/>
          <a:p>
            <a:endParaRPr lang="en-US"/>
          </a:p>
        </p:txBody>
      </p:sp>
      <p:sp>
        <p:nvSpPr>
          <p:cNvPr id="5" name="Inhaltsplatzhalter 2"/>
          <p:cNvSpPr>
            <a:spLocks noGrp="1"/>
          </p:cNvSpPr>
          <p:nvPr>
            <p:ph idx="1"/>
          </p:nvPr>
        </p:nvSpPr>
        <p:spPr bwMode="gray">
          <a:xfrm>
            <a:off x="360003" y="1871999"/>
            <a:ext cx="4122737" cy="432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6" name="Bildplatzhalter 1"/>
          <p:cNvSpPr>
            <a:spLocks noGrp="1"/>
          </p:cNvSpPr>
          <p:nvPr>
            <p:ph type="pic" sz="quarter" idx="12"/>
          </p:nvPr>
        </p:nvSpPr>
        <p:spPr>
          <a:xfrm>
            <a:off x="4661096" y="2"/>
            <a:ext cx="4482904" cy="3432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8" name="Bildplatzhalter 2"/>
          <p:cNvSpPr>
            <a:spLocks noGrp="1"/>
          </p:cNvSpPr>
          <p:nvPr>
            <p:ph type="pic" sz="quarter" idx="13"/>
          </p:nvPr>
        </p:nvSpPr>
        <p:spPr>
          <a:xfrm>
            <a:off x="4661096" y="3432003"/>
            <a:ext cx="4482904" cy="3432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Gerade Verbindung 9"/>
          <p:cNvCxnSpPr/>
          <p:nvPr/>
        </p:nvCxnSpPr>
        <p:spPr>
          <a:xfrm>
            <a:off x="360004" y="6296401"/>
            <a:ext cx="4122737" cy="71"/>
          </a:xfrm>
          <a:prstGeom prst="line">
            <a:avLst/>
          </a:prstGeom>
          <a:ln w="19050" cap="rnd">
            <a:solidFill>
              <a:schemeClr val="accent4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feld 10"/>
          <p:cNvSpPr txBox="1">
            <a:spLocks noChangeArrowheads="1"/>
          </p:cNvSpPr>
          <p:nvPr/>
        </p:nvSpPr>
        <p:spPr bwMode="auto">
          <a:xfrm>
            <a:off x="-2188873" y="0"/>
            <a:ext cx="2103150" cy="3119999"/>
          </a:xfrm>
          <a:prstGeom prst="rect">
            <a:avLst/>
          </a:prstGeom>
          <a:solidFill>
            <a:srgbClr val="DD0C29"/>
          </a:solidFill>
          <a:ln>
            <a:noFill/>
          </a:ln>
        </p:spPr>
        <p:txBody>
          <a:bodyPr wrap="square" lIns="35996" tIns="35996" rIns="35996" bIns="35996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1000" b="1" dirty="0">
                <a:solidFill>
                  <a:srgbClr val="FFFFFF"/>
                </a:solidFill>
                <a:cs typeface="Tahoma" charset="0"/>
              </a:rPr>
              <a:t>Bearbeitungshinweis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800" dirty="0">
                <a:solidFill>
                  <a:srgbClr val="FFFFFF"/>
                </a:solidFill>
                <a:cs typeface="Tahoma" charset="0"/>
              </a:rPr>
              <a:t>Klicken Sie auf das Symbol im Platzhalter und wählen Sie ein Bild aus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800" dirty="0">
                <a:solidFill>
                  <a:srgbClr val="FFFFFF"/>
                </a:solidFill>
                <a:cs typeface="Tahoma" charset="0"/>
              </a:rPr>
              <a:t>Sofern das Bild nicht der Größe des Bildplatzhalters entspricht und somit nicht richtig zugeschnitten ist, gehen Sie bitte wie folgt vor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800" dirty="0">
                <a:solidFill>
                  <a:srgbClr val="FFFFFF"/>
                </a:solidFill>
                <a:cs typeface="Tahoma" charset="0"/>
              </a:rPr>
              <a:t>Gehen Sie mit der Maus auf das Bild -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800" dirty="0">
                <a:solidFill>
                  <a:srgbClr val="FFFFFF"/>
                </a:solidFill>
                <a:cs typeface="Tahoma" charset="0"/>
              </a:rPr>
              <a:t>Klicken Sie auf die rechte Maustaste und wählen Sie „Grafik formatieren“ aus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800" dirty="0">
                <a:solidFill>
                  <a:srgbClr val="FFFFFF"/>
                </a:solidFill>
                <a:cs typeface="Tahoma" charset="0"/>
              </a:rPr>
              <a:t>Wählen Sie dann „Zuschneiden“. Unter „Bildposition“ – X-Offset und Y-Offset können Sie nun den gewünschten Ausschnitt bestimmen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800" dirty="0">
                <a:solidFill>
                  <a:srgbClr val="FFFFFF"/>
                </a:solidFill>
                <a:cs typeface="Tahoma" charset="0"/>
              </a:rPr>
              <a:t>Mit positiven Werten wird das Bild nach unten bzw. nach rechts verschoben. Mit negativen Werten hingegen nach oben bzw. links.</a:t>
            </a:r>
            <a:endParaRPr lang="en-US" sz="900" dirty="0">
              <a:solidFill>
                <a:srgbClr val="FFFFFF"/>
              </a:solidFill>
              <a:cs typeface="Tahoma" charset="0"/>
            </a:endParaRPr>
          </a:p>
        </p:txBody>
      </p:sp>
      <p:sp>
        <p:nvSpPr>
          <p:cNvPr id="16" name="Textfeld 11"/>
          <p:cNvSpPr txBox="1">
            <a:spLocks noChangeArrowheads="1"/>
          </p:cNvSpPr>
          <p:nvPr/>
        </p:nvSpPr>
        <p:spPr bwMode="auto">
          <a:xfrm>
            <a:off x="-2188873" y="3205260"/>
            <a:ext cx="2103150" cy="3119999"/>
          </a:xfrm>
          <a:prstGeom prst="rect">
            <a:avLst/>
          </a:prstGeom>
          <a:solidFill>
            <a:srgbClr val="DD0C29"/>
          </a:solidFill>
          <a:ln>
            <a:noFill/>
          </a:ln>
        </p:spPr>
        <p:txBody>
          <a:bodyPr wrap="square" lIns="35996" tIns="35996" rIns="35996" bIns="35996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1000" b="1" dirty="0">
                <a:solidFill>
                  <a:srgbClr val="FFFFFF"/>
                </a:solidFill>
                <a:cs typeface="Tahoma" charset="0"/>
              </a:rPr>
              <a:t>Handling </a:t>
            </a:r>
            <a:r>
              <a:rPr lang="de-DE" sz="1000" b="1" dirty="0" err="1">
                <a:solidFill>
                  <a:srgbClr val="FFFFFF"/>
                </a:solidFill>
                <a:cs typeface="Tahoma" charset="0"/>
              </a:rPr>
              <a:t>instructions</a:t>
            </a:r>
            <a:r>
              <a:rPr lang="de-DE" sz="1000" b="1" dirty="0">
                <a:solidFill>
                  <a:srgbClr val="FFFFFF"/>
                </a:solidFill>
                <a:cs typeface="Tahoma" charset="0"/>
              </a:rPr>
              <a:t>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FFFFFF"/>
                </a:solidFill>
                <a:cs typeface="Tahoma" charset="0"/>
              </a:rPr>
              <a:t>Click on the symbol in the place holder and select an image. If the image does not have the same size as the place holder, please follow this instruction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FFFFFF"/>
                </a:solidFill>
                <a:cs typeface="Tahoma" charset="0"/>
              </a:rPr>
              <a:t>Move the computer mouse on the picture – right-click and choose “Format Picture”. Then select “Crop”. Edit “Picture Position” – Offset X and Offset Y to determine the appropriate section. 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FFFFFF"/>
                </a:solidFill>
                <a:cs typeface="Tahoma" charset="0"/>
              </a:rPr>
              <a:t>With positive values you can move the picture down and to the right, with negative values up and to the left.</a:t>
            </a:r>
          </a:p>
        </p:txBody>
      </p:sp>
    </p:spTree>
    <p:extLst>
      <p:ext uri="{BB962C8B-B14F-4D97-AF65-F5344CB8AC3E}">
        <p14:creationId xmlns:p14="http://schemas.microsoft.com/office/powerpoint/2010/main" val="12960697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platzhalter 1"/>
          <p:cNvSpPr>
            <a:spLocks noGrp="1"/>
          </p:cNvSpPr>
          <p:nvPr>
            <p:ph type="body" sz="quarter" idx="12"/>
          </p:nvPr>
        </p:nvSpPr>
        <p:spPr>
          <a:xfrm>
            <a:off x="360001" y="1575680"/>
            <a:ext cx="2700000" cy="2880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accent4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3222002" y="1575680"/>
            <a:ext cx="2700000" cy="2880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accent4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6084002" y="1575680"/>
            <a:ext cx="2700000" cy="2880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accent4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Bildplatzhalter 1"/>
          <p:cNvSpPr>
            <a:spLocks noGrp="1"/>
          </p:cNvSpPr>
          <p:nvPr>
            <p:ph type="pic" sz="quarter" idx="15"/>
          </p:nvPr>
        </p:nvSpPr>
        <p:spPr>
          <a:xfrm>
            <a:off x="360001" y="2059839"/>
            <a:ext cx="2700000" cy="2400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9" name="Bildplatzhalter 2"/>
          <p:cNvSpPr>
            <a:spLocks noGrp="1"/>
          </p:cNvSpPr>
          <p:nvPr>
            <p:ph type="pic" sz="quarter" idx="16"/>
          </p:nvPr>
        </p:nvSpPr>
        <p:spPr>
          <a:xfrm>
            <a:off x="3222002" y="2059839"/>
            <a:ext cx="2700000" cy="2400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0" name="Bildplatzhalter 3"/>
          <p:cNvSpPr>
            <a:spLocks noGrp="1"/>
          </p:cNvSpPr>
          <p:nvPr>
            <p:ph type="pic" sz="quarter" idx="17"/>
          </p:nvPr>
        </p:nvSpPr>
        <p:spPr>
          <a:xfrm>
            <a:off x="6084002" y="2059839"/>
            <a:ext cx="2700000" cy="2400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1" name="Inhaltsplatzhalter 1"/>
          <p:cNvSpPr>
            <a:spLocks noGrp="1"/>
          </p:cNvSpPr>
          <p:nvPr>
            <p:ph sz="quarter" idx="18"/>
          </p:nvPr>
        </p:nvSpPr>
        <p:spPr>
          <a:xfrm>
            <a:off x="360001" y="4656000"/>
            <a:ext cx="2700000" cy="153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2" name="Inhaltsplatzhalter 2"/>
          <p:cNvSpPr>
            <a:spLocks noGrp="1"/>
          </p:cNvSpPr>
          <p:nvPr>
            <p:ph sz="quarter" idx="19"/>
          </p:nvPr>
        </p:nvSpPr>
        <p:spPr>
          <a:xfrm>
            <a:off x="3222002" y="4656000"/>
            <a:ext cx="2700000" cy="153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Inhaltsplatzhalter 3"/>
          <p:cNvSpPr>
            <a:spLocks noGrp="1"/>
          </p:cNvSpPr>
          <p:nvPr>
            <p:ph sz="quarter" idx="20"/>
          </p:nvPr>
        </p:nvSpPr>
        <p:spPr>
          <a:xfrm>
            <a:off x="6084002" y="4656000"/>
            <a:ext cx="2700000" cy="153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6" name="Textfeld 13"/>
          <p:cNvSpPr txBox="1">
            <a:spLocks noChangeArrowheads="1"/>
          </p:cNvSpPr>
          <p:nvPr/>
        </p:nvSpPr>
        <p:spPr bwMode="auto">
          <a:xfrm>
            <a:off x="-2188873" y="0"/>
            <a:ext cx="2103150" cy="3119999"/>
          </a:xfrm>
          <a:prstGeom prst="rect">
            <a:avLst/>
          </a:prstGeom>
          <a:solidFill>
            <a:srgbClr val="DD0C29"/>
          </a:solidFill>
          <a:ln>
            <a:noFill/>
          </a:ln>
        </p:spPr>
        <p:txBody>
          <a:bodyPr wrap="square" lIns="35996" tIns="35996" rIns="35996" bIns="35996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1000" b="1" dirty="0">
                <a:solidFill>
                  <a:srgbClr val="FFFFFF"/>
                </a:solidFill>
                <a:cs typeface="Tahoma" charset="0"/>
              </a:rPr>
              <a:t>Bearbeitungshinweis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800" dirty="0">
                <a:solidFill>
                  <a:srgbClr val="FFFFFF"/>
                </a:solidFill>
                <a:cs typeface="Tahoma" charset="0"/>
              </a:rPr>
              <a:t>Klicken Sie auf das Symbol im Platzhalter und wählen Sie ein Bild aus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800" dirty="0">
                <a:solidFill>
                  <a:srgbClr val="FFFFFF"/>
                </a:solidFill>
                <a:cs typeface="Tahoma" charset="0"/>
              </a:rPr>
              <a:t>Sofern das Bild nicht der Größe des Bildplatzhalters entspricht und somit nicht richtig zugeschnitten ist, gehen Sie bitte wie folgt vor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800" dirty="0">
                <a:solidFill>
                  <a:srgbClr val="FFFFFF"/>
                </a:solidFill>
                <a:cs typeface="Tahoma" charset="0"/>
              </a:rPr>
              <a:t>Gehen Sie mit der Maus auf das Bild -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800" dirty="0">
                <a:solidFill>
                  <a:srgbClr val="FFFFFF"/>
                </a:solidFill>
                <a:cs typeface="Tahoma" charset="0"/>
              </a:rPr>
              <a:t>Klicken Sie auf die rechte Maustaste und wählen Sie „Grafik formatieren“ aus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800" dirty="0">
                <a:solidFill>
                  <a:srgbClr val="FFFFFF"/>
                </a:solidFill>
                <a:cs typeface="Tahoma" charset="0"/>
              </a:rPr>
              <a:t>Wählen Sie dann „Zuschneiden“. Unter „Bildposition“ – X-Offset und Y-Offset können Sie nun den gewünschten Ausschnitt bestimmen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800" dirty="0">
                <a:solidFill>
                  <a:srgbClr val="FFFFFF"/>
                </a:solidFill>
                <a:cs typeface="Tahoma" charset="0"/>
              </a:rPr>
              <a:t>Mit positiven Werten wird das Bild nach unten bzw. nach rechts verschoben. Mit negativen Werten hingegen nach oben bzw. links.</a:t>
            </a:r>
            <a:endParaRPr lang="en-US" sz="900" dirty="0">
              <a:solidFill>
                <a:srgbClr val="FFFFFF"/>
              </a:solidFill>
              <a:cs typeface="Tahoma" charset="0"/>
            </a:endParaRPr>
          </a:p>
        </p:txBody>
      </p:sp>
      <p:sp>
        <p:nvSpPr>
          <p:cNvPr id="17" name="Textfeld 14"/>
          <p:cNvSpPr txBox="1">
            <a:spLocks noChangeArrowheads="1"/>
          </p:cNvSpPr>
          <p:nvPr/>
        </p:nvSpPr>
        <p:spPr bwMode="auto">
          <a:xfrm>
            <a:off x="-2188873" y="3205260"/>
            <a:ext cx="2103150" cy="3119999"/>
          </a:xfrm>
          <a:prstGeom prst="rect">
            <a:avLst/>
          </a:prstGeom>
          <a:solidFill>
            <a:srgbClr val="DD0C29"/>
          </a:solidFill>
          <a:ln>
            <a:noFill/>
          </a:ln>
        </p:spPr>
        <p:txBody>
          <a:bodyPr wrap="square" lIns="35996" tIns="35996" rIns="35996" bIns="35996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1000" b="1" dirty="0">
                <a:solidFill>
                  <a:srgbClr val="FFFFFF"/>
                </a:solidFill>
                <a:cs typeface="Tahoma" charset="0"/>
              </a:rPr>
              <a:t>Handling </a:t>
            </a:r>
            <a:r>
              <a:rPr lang="de-DE" sz="1000" b="1" dirty="0" err="1">
                <a:solidFill>
                  <a:srgbClr val="FFFFFF"/>
                </a:solidFill>
                <a:cs typeface="Tahoma" charset="0"/>
              </a:rPr>
              <a:t>instructions</a:t>
            </a:r>
            <a:r>
              <a:rPr lang="de-DE" sz="1000" b="1" dirty="0">
                <a:solidFill>
                  <a:srgbClr val="FFFFFF"/>
                </a:solidFill>
                <a:cs typeface="Tahoma" charset="0"/>
              </a:rPr>
              <a:t>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FFFFFF"/>
                </a:solidFill>
                <a:cs typeface="Tahoma" charset="0"/>
              </a:rPr>
              <a:t>Click on the symbol in the place holder and select an image. If the image does not have the same size as the place holder, please follow this instruction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FFFFFF"/>
                </a:solidFill>
                <a:cs typeface="Tahoma" charset="0"/>
              </a:rPr>
              <a:t>Move the computer mouse on the picture – right-click and choose “Format Picture”. Then select “Crop”. Edit “Picture Position” – Offset X and Offset Y to determine the appropriate section. 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FFFFFF"/>
                </a:solidFill>
                <a:cs typeface="Tahoma" charset="0"/>
              </a:rPr>
              <a:t>With positive values you can move the picture down and to the right, with negative values up and to the left.</a:t>
            </a:r>
          </a:p>
        </p:txBody>
      </p:sp>
    </p:spTree>
    <p:extLst>
      <p:ext uri="{BB962C8B-B14F-4D97-AF65-F5344CB8AC3E}">
        <p14:creationId xmlns:p14="http://schemas.microsoft.com/office/powerpoint/2010/main" val="19611296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296657F5-916D-412A-BD0B-B5E3C1BB1E62}"/>
              </a:ext>
            </a:extLst>
          </p:cNvPr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325251083"/>
              </p:ext>
            </p:extLst>
          </p:nvPr>
        </p:nvGraphicFramePr>
        <p:xfrm>
          <a:off x="1588" y="2117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408" imgH="408" progId="TCLayout.ActiveDocument.1">
                  <p:embed/>
                </p:oleObj>
              </mc:Choice>
              <mc:Fallback>
                <p:oleObj name="think-cell Folie" r:id="rId22" imgW="408" imgH="408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296657F5-916D-412A-BD0B-B5E3C1BB1E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2117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31BECA70-EE9B-476F-9DD9-D3F5BA3AFC49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0" y="0"/>
            <a:ext cx="158750" cy="211601"/>
          </a:xfrm>
          <a:prstGeom prst="rect">
            <a:avLst/>
          </a:prstGeom>
          <a:solidFill>
            <a:srgbClr val="7FD5F3"/>
          </a:soli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1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+mj-ea"/>
              <a:cs typeface="+mj-cs"/>
              <a:sym typeface="Tahoma" panose="020B060403050404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60364" y="191942"/>
            <a:ext cx="8424001" cy="79175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60002" y="1152002"/>
            <a:ext cx="8424000" cy="504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929391" y="6520871"/>
            <a:ext cx="5220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04001" y="6520871"/>
            <a:ext cx="180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b="1">
                <a:solidFill>
                  <a:schemeClr val="accent4"/>
                </a:solidFill>
              </a:defRPr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Box 10"/>
          <p:cNvSpPr txBox="1">
            <a:spLocks noChangeArrowheads="1"/>
          </p:cNvSpPr>
          <p:nvPr/>
        </p:nvSpPr>
        <p:spPr bwMode="black">
          <a:xfrm>
            <a:off x="7607032" y="6546511"/>
            <a:ext cx="900000" cy="927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pPr algn="r" fontAlgn="base">
              <a:lnSpc>
                <a:spcPts val="8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600" dirty="0">
                <a:solidFill>
                  <a:srgbClr val="000000"/>
                </a:solidFill>
              </a:rPr>
              <a:t>© ZF Friedrichshafen AG</a:t>
            </a:r>
          </a:p>
        </p:txBody>
      </p:sp>
      <p:cxnSp>
        <p:nvCxnSpPr>
          <p:cNvPr id="8" name="Gerade Verbindung 7"/>
          <p:cNvCxnSpPr/>
          <p:nvPr/>
        </p:nvCxnSpPr>
        <p:spPr>
          <a:xfrm>
            <a:off x="360002" y="6296401"/>
            <a:ext cx="8424000" cy="71"/>
          </a:xfrm>
          <a:prstGeom prst="line">
            <a:avLst/>
          </a:prstGeom>
          <a:ln w="19050" cap="rnd">
            <a:solidFill>
              <a:schemeClr val="accent4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fik 8"/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1" y="6400870"/>
            <a:ext cx="288000" cy="3840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CBE3D988-D367-D47D-61EA-60332B27926D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8675688" y="63500"/>
            <a:ext cx="433387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1917658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  <p:sldLayoutId id="2147483824" r:id="rId2"/>
    <p:sldLayoutId id="2147483825" r:id="rId3"/>
    <p:sldLayoutId id="2147483826" r:id="rId4"/>
    <p:sldLayoutId id="2147483827" r:id="rId5"/>
    <p:sldLayoutId id="2147483828" r:id="rId6"/>
    <p:sldLayoutId id="2147483829" r:id="rId7"/>
    <p:sldLayoutId id="2147483830" r:id="rId8"/>
    <p:sldLayoutId id="2147483831" r:id="rId9"/>
    <p:sldLayoutId id="2147483832" r:id="rId10"/>
    <p:sldLayoutId id="2147483833" r:id="rId11"/>
    <p:sldLayoutId id="2147483834" r:id="rId12"/>
    <p:sldLayoutId id="2147483835" r:id="rId13"/>
    <p:sldLayoutId id="2147483836" r:id="rId14"/>
    <p:sldLayoutId id="2147483837" r:id="rId15"/>
    <p:sldLayoutId id="2147483838" r:id="rId16"/>
    <p:sldLayoutId id="2147483839" r:id="rId17"/>
    <p:sldLayoutId id="2147483840" r:id="rId18"/>
  </p:sldLayoutIdLst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300"/>
        </a:spcAft>
        <a:buFont typeface="Arial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Font typeface="Tahoma" panose="020B060403050404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21600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Font typeface="Tahoma" panose="020B060403050404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48000" indent="-21600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Font typeface="Tahoma" panose="020B060403050404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4000" indent="-21600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Font typeface="Tahoma" panose="020B060403050404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box"/>
          <p:cNvSpPr>
            <a:spLocks noGrp="1"/>
          </p:cNvSpPr>
          <p:nvPr>
            <p:ph type="ctrTitle"/>
          </p:nvPr>
        </p:nvSpPr>
        <p:spPr>
          <a:xfrm>
            <a:off x="-249869" y="932707"/>
            <a:ext cx="8424000" cy="730381"/>
          </a:xfrm>
        </p:spPr>
        <p:txBody>
          <a:bodyPr/>
          <a:lstStyle/>
          <a:p>
            <a:pPr algn="ctr"/>
            <a:r>
              <a:rPr lang="de-DE" dirty="0"/>
              <a:t>ZF SPORTIFY</a:t>
            </a:r>
            <a:br>
              <a:rPr lang="de-DE" dirty="0"/>
            </a:br>
            <a:r>
              <a:rPr lang="de-DE" sz="1100" dirty="0"/>
              <a:t>	</a:t>
            </a:r>
            <a:r>
              <a:rPr lang="de-DE" dirty="0"/>
              <a:t>	</a:t>
            </a:r>
          </a:p>
        </p:txBody>
      </p:sp>
      <p:sp>
        <p:nvSpPr>
          <p:cNvPr id="2" name="Untertitelbox">
            <a:extLst>
              <a:ext uri="{FF2B5EF4-FFF2-40B4-BE49-F238E27FC236}">
                <a16:creationId xmlns:a16="http://schemas.microsoft.com/office/drawing/2014/main" id="{A2A26FFB-9311-8805-861A-48F39496E07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43279" y="3980749"/>
            <a:ext cx="2320684" cy="663788"/>
          </a:xfrm>
        </p:spPr>
        <p:txBody>
          <a:bodyPr/>
          <a:lstStyle/>
          <a:p>
            <a:r>
              <a:rPr lang="en-US" dirty="0"/>
              <a:t>alpha_hackz_20</a:t>
            </a:r>
            <a:endParaRPr lang="de-DE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AB6CCF1-C459-2DB9-FEE2-3F66A5F46D7A}"/>
              </a:ext>
            </a:extLst>
          </p:cNvPr>
          <p:cNvSpPr txBox="1"/>
          <p:nvPr/>
        </p:nvSpPr>
        <p:spPr>
          <a:xfrm>
            <a:off x="2091412" y="2877251"/>
            <a:ext cx="5638878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Aft>
                <a:spcPct val="0"/>
              </a:spcAft>
            </a:pPr>
            <a:r>
              <a:rPr lang="en-US" sz="20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Your one-stop solution all types of sports Booking and events / Tournament updates</a:t>
            </a:r>
          </a:p>
        </p:txBody>
      </p:sp>
      <p:sp>
        <p:nvSpPr>
          <p:cNvPr id="3" name="Untertitelbox">
            <a:extLst>
              <a:ext uri="{FF2B5EF4-FFF2-40B4-BE49-F238E27FC236}">
                <a16:creationId xmlns:a16="http://schemas.microsoft.com/office/drawing/2014/main" id="{BEC06307-6360-7138-A967-A101A7325FAC}"/>
              </a:ext>
            </a:extLst>
          </p:cNvPr>
          <p:cNvSpPr txBox="1">
            <a:spLocks/>
          </p:cNvSpPr>
          <p:nvPr/>
        </p:nvSpPr>
        <p:spPr>
          <a:xfrm>
            <a:off x="5743279" y="3123499"/>
            <a:ext cx="2320684" cy="6637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ctr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None/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ahoma" panose="020B0604030504040204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ahoma" panose="020B0604030504040204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ahoma" panose="020B0604030504040204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ahoma" panose="020B0604030504040204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sz="1600" b="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alpha_hackz_20</a:t>
            </a:r>
            <a:endParaRPr lang="de-DE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48EFDF7-9604-1293-5521-8A01CA2DC504}"/>
              </a:ext>
            </a:extLst>
          </p:cNvPr>
          <p:cNvSpPr txBox="1"/>
          <p:nvPr/>
        </p:nvSpPr>
        <p:spPr>
          <a:xfrm>
            <a:off x="2199275" y="1989196"/>
            <a:ext cx="470434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Team: </a:t>
            </a:r>
            <a:r>
              <a:rPr lang="en-US" sz="2000" b="1" dirty="0">
                <a:solidFill>
                  <a:srgbClr val="00B050"/>
                </a:solidFill>
                <a:latin typeface="+mj-lt"/>
                <a:ea typeface="+mj-ea"/>
                <a:cs typeface="+mj-cs"/>
              </a:rPr>
              <a:t>Alpha </a:t>
            </a:r>
            <a:r>
              <a:rPr lang="en-US" sz="2000" b="1" dirty="0" err="1">
                <a:solidFill>
                  <a:srgbClr val="00B050"/>
                </a:solidFill>
                <a:latin typeface="+mj-lt"/>
                <a:ea typeface="+mj-ea"/>
                <a:cs typeface="+mj-cs"/>
              </a:rPr>
              <a:t>hackz</a:t>
            </a:r>
            <a:endParaRPr lang="de-DE" sz="2000" b="1" dirty="0">
              <a:solidFill>
                <a:srgbClr val="00B050"/>
              </a:solidFill>
              <a:latin typeface="+mj-lt"/>
              <a:ea typeface="+mj-ea"/>
              <a:cs typeface="+mj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0062684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D2DE8379-DD9C-345F-8624-460783CE38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364" y="191942"/>
            <a:ext cx="8424001" cy="791756"/>
          </a:xfrm>
        </p:spPr>
        <p:txBody>
          <a:bodyPr anchor="t">
            <a:normAutofit/>
          </a:bodyPr>
          <a:lstStyle/>
          <a:p>
            <a:r>
              <a:rPr lang="en-US" dirty="0"/>
              <a:t>Yet to include features in web app</a:t>
            </a:r>
          </a:p>
        </p:txBody>
      </p:sp>
      <p:graphicFrame>
        <p:nvGraphicFramePr>
          <p:cNvPr id="8" name="Content Placeholder 5">
            <a:extLst>
              <a:ext uri="{FF2B5EF4-FFF2-40B4-BE49-F238E27FC236}">
                <a16:creationId xmlns:a16="http://schemas.microsoft.com/office/drawing/2014/main" id="{77F3E696-3445-E43E-CCC0-C62E59B99C5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3337823"/>
              </p:ext>
            </p:extLst>
          </p:nvPr>
        </p:nvGraphicFramePr>
        <p:xfrm>
          <a:off x="360002" y="1152002"/>
          <a:ext cx="8424000" cy="5040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15307721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A1A801B-9C16-4086-7EE0-A2189A913F0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AF64DA9-8506-C2A8-96D5-58011FD9131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8762" y="694310"/>
            <a:ext cx="8424000" cy="672748"/>
          </a:xfrm>
        </p:spPr>
        <p:txBody>
          <a:bodyPr/>
          <a:lstStyle/>
          <a:p>
            <a:pPr algn="ctr"/>
            <a:r>
              <a:rPr lang="en-US" sz="3200" dirty="0"/>
              <a:t>Best regards Team ALPHA HACKZZ_20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4FB5895D-79F7-19DE-2DFA-E5218248D7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248956" y="1618477"/>
            <a:ext cx="4212002" cy="885051"/>
          </a:xfrm>
        </p:spPr>
        <p:txBody>
          <a:bodyPr/>
          <a:lstStyle/>
          <a:p>
            <a:pPr algn="ctr"/>
            <a:r>
              <a:rPr lang="en-US" sz="2000" b="1" i="1" dirty="0"/>
              <a:t>Shanthan Manne</a:t>
            </a:r>
          </a:p>
          <a:p>
            <a:pPr algn="ctr"/>
            <a:r>
              <a:rPr lang="en-US" sz="2000" b="1" i="1" dirty="0"/>
              <a:t>Prakash Reddy Malasani</a:t>
            </a:r>
          </a:p>
          <a:p>
            <a:pPr algn="ctr"/>
            <a:r>
              <a:rPr lang="en-US" sz="2000" b="1" i="1" dirty="0"/>
              <a:t>Rajib Saha </a:t>
            </a:r>
          </a:p>
          <a:p>
            <a:pPr algn="ctr"/>
            <a:r>
              <a:rPr lang="en-US" sz="2000" b="1" i="1" dirty="0"/>
              <a:t>Hemanth Kumar Chintha </a:t>
            </a:r>
          </a:p>
          <a:p>
            <a:pPr algn="ctr"/>
            <a:r>
              <a:rPr lang="en-US" sz="2000" b="1" i="1" dirty="0"/>
              <a:t>Maanvitha Garapati</a:t>
            </a:r>
          </a:p>
          <a:p>
            <a:pPr marL="171450" indent="-171450">
              <a:buSzPct val="112000"/>
              <a:buFont typeface="Wingdings" panose="05000000000000000000" pitchFamily="2" charset="2"/>
              <a:buChar char="§"/>
            </a:pPr>
            <a:endParaRPr lang="en-US" b="1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D5F676E-25F1-E456-8104-259B78E5E07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06971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364" y="191942"/>
            <a:ext cx="8424001" cy="791756"/>
          </a:xfrm>
        </p:spPr>
        <p:txBody>
          <a:bodyPr anchor="t">
            <a:normAutofit/>
          </a:bodyPr>
          <a:lstStyle/>
          <a:p>
            <a:r>
              <a:rPr dirty="0"/>
              <a:t>Introduction</a:t>
            </a: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18303FD5-32A1-9CAA-EA4B-580D44747E4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81818126"/>
              </p:ext>
            </p:extLst>
          </p:nvPr>
        </p:nvGraphicFramePr>
        <p:xfrm>
          <a:off x="360363" y="1152525"/>
          <a:ext cx="8423275" cy="50387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364" y="191942"/>
            <a:ext cx="8424001" cy="791756"/>
          </a:xfrm>
        </p:spPr>
        <p:txBody>
          <a:bodyPr anchor="t">
            <a:normAutofit/>
          </a:bodyPr>
          <a:lstStyle/>
          <a:p>
            <a:r>
              <a:t>Key Features</a:t>
            </a: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4C38B3F5-E63E-42E2-88D0-C973DF94D3F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01368400"/>
              </p:ext>
            </p:extLst>
          </p:nvPr>
        </p:nvGraphicFramePr>
        <p:xfrm>
          <a:off x="360002" y="1152002"/>
          <a:ext cx="8424000" cy="5040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364" y="191942"/>
            <a:ext cx="8424001" cy="791756"/>
          </a:xfrm>
        </p:spPr>
        <p:txBody>
          <a:bodyPr anchor="t">
            <a:normAutofit/>
          </a:bodyPr>
          <a:lstStyle/>
          <a:p>
            <a:r>
              <a:t>Technology Stack</a:t>
            </a: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D5988FEF-8AFF-840C-9329-FBF0BFD3BBD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39201234"/>
              </p:ext>
            </p:extLst>
          </p:nvPr>
        </p:nvGraphicFramePr>
        <p:xfrm>
          <a:off x="360002" y="1152002"/>
          <a:ext cx="8424000" cy="5040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364" y="191942"/>
            <a:ext cx="8424001" cy="791756"/>
          </a:xfrm>
        </p:spPr>
        <p:txBody>
          <a:bodyPr anchor="t">
            <a:normAutofit/>
          </a:bodyPr>
          <a:lstStyle/>
          <a:p>
            <a:r>
              <a:t>Workflow</a:t>
            </a: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5D17B40D-F536-9CDF-3F69-CB2906CA4FD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56400275"/>
              </p:ext>
            </p:extLst>
          </p:nvPr>
        </p:nvGraphicFramePr>
        <p:xfrm>
          <a:off x="360002" y="1152002"/>
          <a:ext cx="8424000" cy="5040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364" y="191942"/>
            <a:ext cx="8424001" cy="791756"/>
          </a:xfrm>
        </p:spPr>
        <p:txBody>
          <a:bodyPr anchor="t">
            <a:normAutofit/>
          </a:bodyPr>
          <a:lstStyle/>
          <a:p>
            <a:r>
              <a:t>Benefits</a:t>
            </a: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6D298264-FF65-E9B9-BC40-D5C23B76B6C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38475612"/>
              </p:ext>
            </p:extLst>
          </p:nvPr>
        </p:nvGraphicFramePr>
        <p:xfrm>
          <a:off x="360002" y="1152002"/>
          <a:ext cx="8424000" cy="5040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1" name="Title 1">
            <a:extLst>
              <a:ext uri="{FF2B5EF4-FFF2-40B4-BE49-F238E27FC236}">
                <a16:creationId xmlns:a16="http://schemas.microsoft.com/office/drawing/2014/main" id="{49E1C57F-2EB0-EB27-1BED-59652AA279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365" y="1001205"/>
            <a:ext cx="7532351" cy="484695"/>
          </a:xfrm>
        </p:spPr>
        <p:txBody>
          <a:bodyPr/>
          <a:lstStyle/>
          <a:p>
            <a:r>
              <a:rPr lang="en-US" dirty="0"/>
              <a:t>Outline of App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612DEB49-2592-F4BE-0388-02316C5E4DE6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60002" y="1897561"/>
            <a:ext cx="8424000" cy="3643379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1033" name="Footer Placeholder 3">
            <a:extLst>
              <a:ext uri="{FF2B5EF4-FFF2-40B4-BE49-F238E27FC236}">
                <a16:creationId xmlns:a16="http://schemas.microsoft.com/office/drawing/2014/main" id="{33AC047C-109E-D47D-0913-D610FA3E9F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29391" y="5728851"/>
            <a:ext cx="5220000" cy="108000"/>
          </a:xfrm>
        </p:spPr>
        <p:txBody>
          <a:bodyPr/>
          <a:lstStyle/>
          <a:p>
            <a:endParaRPr lang="de-DE"/>
          </a:p>
        </p:txBody>
      </p:sp>
      <p:sp>
        <p:nvSpPr>
          <p:cNvPr id="1035" name="Slide Number Placeholder 4">
            <a:extLst>
              <a:ext uri="{FF2B5EF4-FFF2-40B4-BE49-F238E27FC236}">
                <a16:creationId xmlns:a16="http://schemas.microsoft.com/office/drawing/2014/main" id="{F4B2AAE7-0850-98DB-549C-86C8218204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04001" y="5728851"/>
            <a:ext cx="180000" cy="108000"/>
          </a:xfrm>
        </p:spPr>
        <p:txBody>
          <a:bodyPr/>
          <a:lstStyle/>
          <a:p>
            <a:pPr>
              <a:spcAft>
                <a:spcPts val="600"/>
              </a:spcAft>
            </a:pPr>
            <a:fld id="{AE839375-43AA-4A5D-B991-4343C4570BCB}" type="slidenum">
              <a:rPr lang="de-DE" smtClean="0"/>
              <a:pPr>
                <a:spcAft>
                  <a:spcPts val="600"/>
                </a:spcAft>
              </a:pPr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372955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364" y="191942"/>
            <a:ext cx="8424001" cy="791756"/>
          </a:xfrm>
        </p:spPr>
        <p:txBody>
          <a:bodyPr anchor="t">
            <a:normAutofit/>
          </a:bodyPr>
          <a:lstStyle/>
          <a:p>
            <a:r>
              <a:t>Timeline</a:t>
            </a: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5494AAE8-1F9D-BB9A-3BDF-EBD64B44299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74180400"/>
              </p:ext>
            </p:extLst>
          </p:nvPr>
        </p:nvGraphicFramePr>
        <p:xfrm>
          <a:off x="360002" y="1152002"/>
          <a:ext cx="8272656" cy="5040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364" y="191942"/>
            <a:ext cx="8424001" cy="791756"/>
          </a:xfrm>
        </p:spPr>
        <p:txBody>
          <a:bodyPr anchor="t">
            <a:normAutofit/>
          </a:bodyPr>
          <a:lstStyle/>
          <a:p>
            <a:r>
              <a:t>Conclusion</a:t>
            </a:r>
          </a:p>
        </p:txBody>
      </p:sp>
      <p:graphicFrame>
        <p:nvGraphicFramePr>
          <p:cNvPr id="27" name="Content Placeholder 2">
            <a:extLst>
              <a:ext uri="{FF2B5EF4-FFF2-40B4-BE49-F238E27FC236}">
                <a16:creationId xmlns:a16="http://schemas.microsoft.com/office/drawing/2014/main" id="{F2B97A47-3928-063F-5B7F-E2E777AB756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96005681"/>
              </p:ext>
            </p:extLst>
          </p:nvPr>
        </p:nvGraphicFramePr>
        <p:xfrm>
          <a:off x="360002" y="1152002"/>
          <a:ext cx="8424000" cy="5040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fOQZljJlOT4Kvz9Yxx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  <p:tag name="SLIDENAME" val="v_1615"/>
</p:tagLst>
</file>

<file path=ppt/theme/theme1.xml><?xml version="1.0" encoding="utf-8"?>
<a:theme xmlns:a="http://schemas.openxmlformats.org/drawingml/2006/main" name="ZF">
  <a:themeElements>
    <a:clrScheme name="ZF CD">
      <a:dk1>
        <a:srgbClr val="000000"/>
      </a:dk1>
      <a:lt1>
        <a:srgbClr val="FFFFFF"/>
      </a:lt1>
      <a:dk2>
        <a:srgbClr val="768E9F"/>
      </a:dk2>
      <a:lt2>
        <a:srgbClr val="ACBBC5"/>
      </a:lt2>
      <a:accent1>
        <a:srgbClr val="00ABE7"/>
      </a:accent1>
      <a:accent2>
        <a:srgbClr val="93D5F6"/>
      </a:accent2>
      <a:accent3>
        <a:srgbClr val="CEEBFC"/>
      </a:accent3>
      <a:accent4>
        <a:srgbClr val="0057B7"/>
      </a:accent4>
      <a:accent5>
        <a:srgbClr val="00265F"/>
      </a:accent5>
      <a:accent6>
        <a:srgbClr val="E52330"/>
      </a:accent6>
      <a:hlink>
        <a:srgbClr val="00ABE7"/>
      </a:hlink>
      <a:folHlink>
        <a:srgbClr val="0057B7"/>
      </a:folHlink>
    </a:clrScheme>
    <a:fontScheme name="© ZF Friedrichshafen AG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7FD5F3"/>
        </a:solidFill>
        <a:ln w="12700" cap="flat" cmpd="sng" algn="ctr">
          <a:noFill/>
          <a:prstDash val="solid"/>
        </a:ln>
        <a:effectLst/>
      </a:spPr>
      <a:bodyPr rot="0" spcFirstLastPara="0" vertOverflow="overflow" horzOverflow="overflow" vert="horz" wrap="square" lIns="90000" tIns="90000" rIns="90000" bIns="90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eaLnBrk="1" fontAlgn="base" latinLnBrk="0" hangingPunct="1">
          <a:lnSpc>
            <a:spcPct val="100000"/>
          </a:lnSpc>
          <a:spcBef>
            <a:spcPts val="0"/>
          </a:spcBef>
          <a:spcAft>
            <a:spcPct val="0"/>
          </a:spcAft>
          <a:buClrTx/>
          <a:buSzTx/>
          <a:buFontTx/>
          <a:buNone/>
          <a:tabLst/>
          <a:defRPr kumimoji="0" sz="1200" b="0" i="0" u="none" strike="noStrike" kern="0" cap="none" spc="0" normalizeH="0" baseline="0" noProof="0" dirty="0" err="1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Tahoma"/>
            <a:ea typeface="+mn-ea"/>
            <a:cs typeface="Tahoma" pitchFamily="34" charset="0"/>
          </a:defRPr>
        </a:defPPr>
      </a:lstStyle>
    </a:spDef>
    <a:lnDef>
      <a:spPr>
        <a:noFill/>
        <a:ln w="28575" cap="rnd" cmpd="sng" algn="ctr">
          <a:solidFill>
            <a:srgbClr val="00ABE7"/>
          </a:solidFill>
          <a:prstDash val="sysDot"/>
          <a:round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marL="0" marR="0" indent="0" defTabSz="914400" eaLnBrk="1" fontAlgn="base" latinLnBrk="0" hangingPunct="1">
          <a:lnSpc>
            <a:spcPct val="100000"/>
          </a:lnSpc>
          <a:spcBef>
            <a:spcPts val="0"/>
          </a:spcBef>
          <a:spcAft>
            <a:spcPct val="0"/>
          </a:spcAft>
          <a:buClrTx/>
          <a:buSzTx/>
          <a:buFontTx/>
          <a:buNone/>
          <a:tabLst/>
          <a:defRPr kumimoji="0" sz="12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</a:defRPr>
        </a:defPPr>
      </a:lstStyle>
    </a:txDef>
  </a:objectDefaults>
  <a:extraClrSchemeLst/>
  <a:custClrLst>
    <a:custClr name="ZF Cyan 100%">
      <a:srgbClr val="00ABE7"/>
    </a:custClr>
    <a:custClr name="ZF Cyan 75%">
      <a:srgbClr val="2EBEEF"/>
    </a:custClr>
    <a:custClr name="ZF Cyan 50%">
      <a:srgbClr val="93D5F6"/>
    </a:custClr>
    <a:custClr name="ZF Cyan 25%">
      <a:srgbClr val="CEEBFC"/>
    </a:custClr>
    <a:custClr name="White">
      <a:srgbClr val="FFFFFF"/>
    </a:custClr>
    <a:custClr name="ZF Blue">
      <a:srgbClr val="0057B7"/>
    </a:custClr>
    <a:custClr name="ZF Dark Blue">
      <a:srgbClr val="000828"/>
    </a:custClr>
    <a:custClr name="ZF Middle Blue">
      <a:srgbClr val="00265F"/>
    </a:custClr>
    <a:custClr name="White">
      <a:srgbClr val="FFFFFF"/>
    </a:custClr>
    <a:custClr name="ZF Red">
      <a:srgbClr val="E52330"/>
    </a:custClr>
    <a:custClr name="Black">
      <a:srgbClr val="000000"/>
    </a:custClr>
    <a:custClr name="ZF Gray 800">
      <a:srgbClr val="475968"/>
    </a:custClr>
    <a:custClr name="ZF Gray 500">
      <a:srgbClr val="768E9F"/>
    </a:custClr>
    <a:custClr name="ZF Gray 300">
      <a:srgbClr val="ACBBC5"/>
    </a:custClr>
    <a:custClr name="ZF Aqua 100% (Chart color)">
      <a:srgbClr val="00A7AB"/>
    </a:custClr>
    <a:custClr name="ZF Aqua 50% (Chart color)">
      <a:srgbClr val="A2D3D6"/>
    </a:custClr>
    <a:custClr name="ZF Purple 100% (Chart color)">
      <a:srgbClr val="524E9C"/>
    </a:custClr>
    <a:custClr name="ZF Purple 50% (Chart color)">
      <a:srgbClr val="A6A1D0"/>
    </a:custClr>
    <a:custClr name="ZF Orange 100% (Chart color)">
      <a:srgbClr val="F28A3D"/>
    </a:custClr>
    <a:custClr name="ZF Orange 50% (Chart color)">
      <a:srgbClr val="FAC89F"/>
    </a:custClr>
  </a:custClrLst>
  <a:extLst>
    <a:ext uri="{05A4C25C-085E-4340-85A3-A5531E510DB2}">
      <thm15:themeFamily xmlns:thm15="http://schemas.microsoft.com/office/thememl/2012/main" name="ZF" id="{D9DB4961-03D2-4AB0-A5F8-B5056FD3896F}" vid="{CBC2B03A-44DE-495B-B9A3-848BC87019E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ZF</Template>
  <TotalTime>0</TotalTime>
  <Words>332</Words>
  <Application>Microsoft Office PowerPoint</Application>
  <PresentationFormat>On-screen Show (4:3)</PresentationFormat>
  <Paragraphs>62</Paragraphs>
  <Slides>1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Arial</vt:lpstr>
      <vt:lpstr>Calibri</vt:lpstr>
      <vt:lpstr>Tahoma</vt:lpstr>
      <vt:lpstr>Wingdings</vt:lpstr>
      <vt:lpstr>ZF</vt:lpstr>
      <vt:lpstr>think-cell Folie</vt:lpstr>
      <vt:lpstr>ZF SPORTIFY   </vt:lpstr>
      <vt:lpstr>Introduction</vt:lpstr>
      <vt:lpstr>Key Features</vt:lpstr>
      <vt:lpstr>Technology Stack</vt:lpstr>
      <vt:lpstr>Workflow</vt:lpstr>
      <vt:lpstr>Benefits</vt:lpstr>
      <vt:lpstr>Outline of App</vt:lpstr>
      <vt:lpstr>Timeline</vt:lpstr>
      <vt:lpstr>Conclusion</vt:lpstr>
      <vt:lpstr>Yet to include features in web app</vt:lpstr>
      <vt:lpstr>Best regards Team ALPHA HACKZZ_20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ZF Sportify</dc:title>
  <dc:subject/>
  <dc:creator>Reddy Malasani Prakash HYD EDETY41</dc:creator>
  <cp:keywords/>
  <dc:description>generated using python-pptx</dc:description>
  <cp:lastModifiedBy>Reddy Malasani Prakash HYD EDETY41</cp:lastModifiedBy>
  <cp:revision>8</cp:revision>
  <dcterms:created xsi:type="dcterms:W3CDTF">2013-01-27T09:14:16Z</dcterms:created>
  <dcterms:modified xsi:type="dcterms:W3CDTF">2024-11-22T06:05:30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34277c1-31d4-4dba-9248-3ba93a3f3112_Enabled">
    <vt:lpwstr>true</vt:lpwstr>
  </property>
  <property fmtid="{D5CDD505-2E9C-101B-9397-08002B2CF9AE}" pid="3" name="MSIP_Label_134277c1-31d4-4dba-9248-3ba93a3f3112_SetDate">
    <vt:lpwstr>2024-11-22T04:53:04Z</vt:lpwstr>
  </property>
  <property fmtid="{D5CDD505-2E9C-101B-9397-08002B2CF9AE}" pid="4" name="MSIP_Label_134277c1-31d4-4dba-9248-3ba93a3f3112_Method">
    <vt:lpwstr>Privileged</vt:lpwstr>
  </property>
  <property fmtid="{D5CDD505-2E9C-101B-9397-08002B2CF9AE}" pid="5" name="MSIP_Label_134277c1-31d4-4dba-9248-3ba93a3f3112_Name">
    <vt:lpwstr>Internal sub1</vt:lpwstr>
  </property>
  <property fmtid="{D5CDD505-2E9C-101B-9397-08002B2CF9AE}" pid="6" name="MSIP_Label_134277c1-31d4-4dba-9248-3ba93a3f3112_SiteId">
    <vt:lpwstr>eb70b763-b6d7-4486-8555-8831709a784e</vt:lpwstr>
  </property>
  <property fmtid="{D5CDD505-2E9C-101B-9397-08002B2CF9AE}" pid="7" name="MSIP_Label_134277c1-31d4-4dba-9248-3ba93a3f3112_ActionId">
    <vt:lpwstr>41cc7aab-8868-48cd-b1a8-3b26f2d6da10</vt:lpwstr>
  </property>
  <property fmtid="{D5CDD505-2E9C-101B-9397-08002B2CF9AE}" pid="8" name="MSIP_Label_134277c1-31d4-4dba-9248-3ba93a3f3112_ContentBits">
    <vt:lpwstr>1</vt:lpwstr>
  </property>
  <property fmtid="{D5CDD505-2E9C-101B-9397-08002B2CF9AE}" pid="9" name="ClassificationContentMarkingHeaderLocations">
    <vt:lpwstr>Office Theme:8</vt:lpwstr>
  </property>
  <property fmtid="{D5CDD505-2E9C-101B-9397-08002B2CF9AE}" pid="10" name="ClassificationContentMarkingHeaderText">
    <vt:lpwstr>Internal</vt:lpwstr>
  </property>
</Properties>
</file>